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0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4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16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8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9.xml" ContentType="application/vnd.openxmlformats-officedocument.presentationml.notesSlide+xml"/>
  <Override PartName="/ppt/tags/tag133.xml" ContentType="application/vnd.openxmlformats-officedocument.presentationml.tags+xml"/>
  <Override PartName="/ppt/notesSlides/notesSlide20.xml" ContentType="application/vnd.openxmlformats-officedocument.presentationml.notesSlide+xml"/>
  <Override PartName="/ppt/tags/tag134.xml" ContentType="application/vnd.openxmlformats-officedocument.presentationml.tags+xml"/>
  <Override PartName="/ppt/notesSlides/notesSlide21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22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3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24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25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26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27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28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832" r:id="rId1"/>
    <p:sldMasterId id="2147484117" r:id="rId2"/>
    <p:sldMasterId id="2147485047" r:id="rId3"/>
    <p:sldMasterId id="2147485061" r:id="rId4"/>
    <p:sldMasterId id="2147485074" r:id="rId5"/>
    <p:sldMasterId id="2147485096" r:id="rId6"/>
  </p:sldMasterIdLst>
  <p:notesMasterIdLst>
    <p:notesMasterId r:id="rId37"/>
  </p:notesMasterIdLst>
  <p:handoutMasterIdLst>
    <p:handoutMasterId r:id="rId38"/>
  </p:handoutMasterIdLst>
  <p:sldIdLst>
    <p:sldId id="2270" r:id="rId7"/>
    <p:sldId id="2286" r:id="rId8"/>
    <p:sldId id="2278" r:id="rId9"/>
    <p:sldId id="2294" r:id="rId10"/>
    <p:sldId id="2273" r:id="rId11"/>
    <p:sldId id="2308" r:id="rId12"/>
    <p:sldId id="2275" r:id="rId13"/>
    <p:sldId id="2296" r:id="rId14"/>
    <p:sldId id="2299" r:id="rId15"/>
    <p:sldId id="2301" r:id="rId16"/>
    <p:sldId id="2302" r:id="rId17"/>
    <p:sldId id="2300" r:id="rId18"/>
    <p:sldId id="2297" r:id="rId19"/>
    <p:sldId id="2246" r:id="rId20"/>
    <p:sldId id="2247" r:id="rId21"/>
    <p:sldId id="2248" r:id="rId22"/>
    <p:sldId id="2283" r:id="rId23"/>
    <p:sldId id="2284" r:id="rId24"/>
    <p:sldId id="2282" r:id="rId25"/>
    <p:sldId id="2251" r:id="rId26"/>
    <p:sldId id="2262" r:id="rId27"/>
    <p:sldId id="2304" r:id="rId28"/>
    <p:sldId id="2305" r:id="rId29"/>
    <p:sldId id="2306" r:id="rId30"/>
    <p:sldId id="2307" r:id="rId31"/>
    <p:sldId id="2289" r:id="rId32"/>
    <p:sldId id="2250" r:id="rId33"/>
    <p:sldId id="2264" r:id="rId34"/>
    <p:sldId id="2303" r:id="rId35"/>
    <p:sldId id="2192" r:id="rId36"/>
  </p:sldIdLst>
  <p:sldSz cx="9906000" cy="6858000" type="A4"/>
  <p:notesSz cx="6797675" cy="9928225"/>
  <p:custDataLst>
    <p:tags r:id="rId39"/>
  </p:custDataLst>
  <p:defaultTextStyle>
    <a:defPPr>
      <a:defRPr lang="hu-HU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00"/>
    <a:srgbClr val="007770"/>
    <a:srgbClr val="006600"/>
    <a:srgbClr val="DFF5C0"/>
    <a:srgbClr val="32C10B"/>
    <a:srgbClr val="72AF2F"/>
    <a:srgbClr val="FBE0DD"/>
    <a:srgbClr val="E9F8D4"/>
    <a:srgbClr val="DFF1CB"/>
    <a:srgbClr val="F8CD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25" autoAdjust="0"/>
    <p:restoredTop sz="99647" autoAdjust="0"/>
  </p:normalViewPr>
  <p:slideViewPr>
    <p:cSldViewPr>
      <p:cViewPr>
        <p:scale>
          <a:sx n="75" d="100"/>
          <a:sy n="75" d="100"/>
        </p:scale>
        <p:origin x="-768" y="-846"/>
      </p:cViewPr>
      <p:guideLst>
        <p:guide orient="horz" pos="5"/>
        <p:guide pos="62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>
        <p:scale>
          <a:sx n="125" d="100"/>
          <a:sy n="125" d="100"/>
        </p:scale>
        <p:origin x="-264" y="1818"/>
      </p:cViewPr>
      <p:guideLst>
        <p:guide orient="horz" pos="3128"/>
        <p:guide pos="2142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1"/>
            <a:ext cx="2946400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t" anchorCtr="0" compatLnSpc="1">
            <a:prstTxWarp prst="textNoShape">
              <a:avLst/>
            </a:prstTxWarp>
          </a:bodyPr>
          <a:lstStyle>
            <a:lvl1pPr algn="r" defTabSz="920750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370F3F44-21A1-4A40-913E-FF9A056C5288}" type="datetime1">
              <a:rPr lang="hu-HU"/>
              <a:pPr>
                <a:defRPr/>
              </a:pPr>
              <a:t>2013. 05. 27.</a:t>
            </a:fld>
            <a:endParaRPr lang="hu-HU"/>
          </a:p>
        </p:txBody>
      </p:sp>
      <p:sp>
        <p:nvSpPr>
          <p:cNvPr id="3604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675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b" anchorCtr="0" compatLnSpc="1">
            <a:prstTxWarp prst="textNoShape">
              <a:avLst/>
            </a:prstTxWarp>
          </a:bodyPr>
          <a:lstStyle>
            <a:lvl1pPr algn="r" defTabSz="920750">
              <a:spcBef>
                <a:spcPct val="0"/>
              </a:spcBef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AE5F1D23-B1F2-40C6-A554-205D9A21F3C7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5591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6400" cy="271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t" anchorCtr="0" compatLnSpc="1">
            <a:prstTxWarp prst="textNoShape">
              <a:avLst/>
            </a:prstTxWarp>
          </a:bodyPr>
          <a:lstStyle>
            <a:lvl1pPr defTabSz="920750">
              <a:defRPr sz="1000" b="0">
                <a:latin typeface="Arial" charset="0"/>
              </a:defRPr>
            </a:lvl1pPr>
          </a:lstStyle>
          <a:p>
            <a:pPr>
              <a:defRPr/>
            </a:pPr>
            <a:r>
              <a:rPr lang="hu-HU"/>
              <a:t>OTP Bank Investor Relations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3"/>
            <a:ext cx="2946400" cy="271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t" anchorCtr="0" compatLnSpc="1">
            <a:prstTxWarp prst="textNoShape">
              <a:avLst/>
            </a:prstTxWarp>
          </a:bodyPr>
          <a:lstStyle>
            <a:lvl1pPr algn="r" defTabSz="920750">
              <a:spcBef>
                <a:spcPct val="0"/>
              </a:spcBef>
              <a:defRPr sz="1000" b="0">
                <a:latin typeface="Arial" charset="0"/>
              </a:defRPr>
            </a:lvl1pPr>
          </a:lstStyle>
          <a:p>
            <a:pPr>
              <a:defRPr/>
            </a:pPr>
            <a:fld id="{0083E64B-0884-4401-88B5-D0987F5687FD}" type="datetime1">
              <a:rPr lang="hu-HU"/>
              <a:pPr>
                <a:defRPr/>
              </a:pPr>
              <a:t>2013. 05. 27.</a:t>
            </a:fld>
            <a:endParaRPr lang="hu-HU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71475" y="271463"/>
            <a:ext cx="6057900" cy="41957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14325" y="4672764"/>
            <a:ext cx="6169025" cy="4887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56723"/>
            <a:ext cx="2946400" cy="269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b" anchorCtr="0" compatLnSpc="1">
            <a:prstTxWarp prst="textNoShape">
              <a:avLst/>
            </a:prstTxWarp>
          </a:bodyPr>
          <a:lstStyle>
            <a:lvl1pPr defTabSz="920750">
              <a:defRPr sz="1000" b="0">
                <a:latin typeface="Arial" charset="0"/>
              </a:defRPr>
            </a:lvl1pPr>
          </a:lstStyle>
          <a:p>
            <a:pPr>
              <a:defRPr/>
            </a:pPr>
            <a:r>
              <a:rPr lang="hu-HU"/>
              <a:t>OTP Bank Közgyűlés - 2007. április 27.</a:t>
            </a:r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56723"/>
            <a:ext cx="2946400" cy="269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15" tIns="45956" rIns="91915" bIns="45956" numCol="1" anchor="b" anchorCtr="0" compatLnSpc="1">
            <a:prstTxWarp prst="textNoShape">
              <a:avLst/>
            </a:prstTxWarp>
          </a:bodyPr>
          <a:lstStyle>
            <a:lvl1pPr algn="r" defTabSz="920750">
              <a:spcBef>
                <a:spcPct val="0"/>
              </a:spcBef>
              <a:defRPr sz="1000" b="0">
                <a:latin typeface="Arial" charset="0"/>
              </a:defRPr>
            </a:lvl1pPr>
          </a:lstStyle>
          <a:p>
            <a:pPr>
              <a:defRPr/>
            </a:pPr>
            <a:fld id="{F6A5F729-18E7-42CA-9FD3-FC3F7535014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3454064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just" rtl="0" eaLnBrk="0" fontAlgn="base" hangingPunct="0">
      <a:spcBef>
        <a:spcPct val="15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73050" indent="-93663" algn="just" rtl="0" eaLnBrk="0" fontAlgn="base" hangingPunct="0">
      <a:spcBef>
        <a:spcPct val="15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628650" indent="-176213" algn="just" rtl="0" eaLnBrk="0" fontAlgn="base" hangingPunct="0">
      <a:spcBef>
        <a:spcPct val="15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079500" indent="-177800" algn="just" rtl="0" eaLnBrk="0" fontAlgn="base" hangingPunct="0">
      <a:spcBef>
        <a:spcPct val="15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436688" indent="-177800" algn="just" rtl="0" eaLnBrk="0" fontAlgn="base" hangingPunct="0">
      <a:spcBef>
        <a:spcPct val="15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409"/>
            <a:fld id="{443876A9-2062-4F39-B24F-99064A569C72}" type="slidenum">
              <a:rPr lang="hu-HU" smtClean="0"/>
              <a:pPr defTabSz="911409"/>
              <a:t>1</a:t>
            </a:fld>
            <a:endParaRPr lang="hu-HU" dirty="0" smtClean="0"/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11409"/>
            <a:fld id="{E3D0C88F-EA3F-46E3-9462-84744C6419D4}" type="slidenum">
              <a:rPr lang="hu-HU" sz="1000" b="0"/>
              <a:pPr algn="r" defTabSz="911409"/>
              <a:t>1</a:t>
            </a:fld>
            <a:endParaRPr lang="hu-HU" sz="1000" b="0" dirty="0"/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defTabSz="909877"/>
            <a:endParaRPr lang="en-GB" sz="1000" b="0" dirty="0"/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4" y="0"/>
            <a:ext cx="294738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algn="r" defTabSz="909877"/>
            <a:endParaRPr lang="en-GB" sz="1000" b="0" dirty="0"/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defTabSz="909877"/>
            <a:endParaRPr lang="en-GB" sz="1000" b="0" dirty="0"/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09877"/>
            <a:endParaRPr lang="en-GB" sz="1000" b="0" dirty="0"/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409"/>
            <a:fld id="{443876A9-2062-4F39-B24F-99064A569C72}" type="slidenum">
              <a:rPr lang="hu-HU" smtClean="0"/>
              <a:pPr defTabSz="911409"/>
              <a:t>12</a:t>
            </a:fld>
            <a:endParaRPr lang="hu-HU" dirty="0" smtClean="0"/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11409"/>
            <a:fld id="{E3D0C88F-EA3F-46E3-9462-84744C6419D4}" type="slidenum">
              <a:rPr lang="hu-HU" sz="1000" b="0"/>
              <a:pPr algn="r" defTabSz="911409"/>
              <a:t>12</a:t>
            </a:fld>
            <a:endParaRPr lang="hu-HU" sz="1000" b="0" dirty="0"/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defTabSz="909877"/>
            <a:endParaRPr lang="en-GB" sz="1000" b="0" dirty="0"/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4" y="0"/>
            <a:ext cx="294738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algn="r" defTabSz="909877"/>
            <a:endParaRPr lang="en-GB" sz="1000" b="0" dirty="0"/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defTabSz="909877"/>
            <a:endParaRPr lang="en-GB" sz="1000" b="0" dirty="0"/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09877"/>
            <a:endParaRPr lang="en-GB" sz="1000" b="0" dirty="0"/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13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14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15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16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409"/>
            <a:fld id="{443876A9-2062-4F39-B24F-99064A569C72}" type="slidenum">
              <a:rPr lang="hu-HU" smtClean="0"/>
              <a:pPr defTabSz="911409"/>
              <a:t>17</a:t>
            </a:fld>
            <a:endParaRPr lang="hu-HU" dirty="0" smtClean="0"/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11409"/>
            <a:fld id="{E3D0C88F-EA3F-46E3-9462-84744C6419D4}" type="slidenum">
              <a:rPr lang="hu-HU" sz="1000" b="0"/>
              <a:pPr algn="r" defTabSz="911409"/>
              <a:t>17</a:t>
            </a:fld>
            <a:endParaRPr lang="hu-HU" sz="1000" b="0" dirty="0"/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defTabSz="909877"/>
            <a:endParaRPr lang="en-GB" sz="1000" b="0" dirty="0"/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4" y="0"/>
            <a:ext cx="294738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algn="r" defTabSz="909877"/>
            <a:endParaRPr lang="en-GB" sz="1000" b="0" dirty="0"/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defTabSz="909877"/>
            <a:endParaRPr lang="en-GB" sz="1000" b="0" dirty="0"/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09877"/>
            <a:endParaRPr lang="en-GB" sz="1000" b="0" dirty="0"/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18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8413"/>
            <a:fld id="{443876A9-2062-4F39-B24F-99064A569C72}" type="slidenum">
              <a:rPr lang="hu-HU" smtClean="0">
                <a:solidFill>
                  <a:prstClr val="black"/>
                </a:solidFill>
              </a:rPr>
              <a:pPr defTabSz="908413"/>
              <a:t>19</a:t>
            </a:fld>
            <a:endParaRPr lang="hu-HU" dirty="0" smtClean="0">
              <a:solidFill>
                <a:prstClr val="black"/>
              </a:solidFill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8" y="9655653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16" tIns="45607" rIns="91216" bIns="45607" anchor="b"/>
          <a:lstStyle/>
          <a:p>
            <a:pPr algn="r" defTabSz="908413"/>
            <a:fld id="{E3D0C88F-EA3F-46E3-9462-84744C6419D4}" type="slidenum">
              <a:rPr lang="hu-HU" sz="1000">
                <a:solidFill>
                  <a:prstClr val="black"/>
                </a:solidFill>
              </a:rPr>
              <a:pPr algn="r" defTabSz="908413"/>
              <a:t>19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16" tIns="45607" rIns="91216" bIns="45607"/>
          <a:lstStyle/>
          <a:p>
            <a:pPr defTabSz="90688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8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16" tIns="45607" rIns="91216" bIns="45607"/>
          <a:lstStyle/>
          <a:p>
            <a:pPr algn="r" defTabSz="90688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3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16" tIns="45607" rIns="91216" bIns="45607" anchor="b"/>
          <a:lstStyle/>
          <a:p>
            <a:pPr defTabSz="90688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8" y="9655653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16" tIns="45607" rIns="91216" bIns="45607" anchor="b"/>
          <a:lstStyle/>
          <a:p>
            <a:pPr algn="r" defTabSz="90688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3050" y="273050"/>
            <a:ext cx="6205538" cy="4297363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241"/>
            <a:fld id="{443876A9-2062-4F39-B24F-99064A569C72}" type="slidenum">
              <a:rPr lang="hu-HU" smtClean="0">
                <a:solidFill>
                  <a:prstClr val="black"/>
                </a:solidFill>
              </a:rPr>
              <a:pPr defTabSz="911241"/>
              <a:t>20</a:t>
            </a:fld>
            <a:endParaRPr lang="hu-HU" dirty="0" smtClean="0">
              <a:solidFill>
                <a:prstClr val="black"/>
              </a:solidFill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6" y="9655652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algn="r" defTabSz="911241"/>
            <a:fld id="{E3D0C88F-EA3F-46E3-9462-84744C6419D4}" type="slidenum">
              <a:rPr lang="hu-HU" sz="1000">
                <a:solidFill>
                  <a:prstClr val="black"/>
                </a:solidFill>
              </a:rPr>
              <a:pPr algn="r" defTabSz="911241"/>
              <a:t>20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/>
          <a:lstStyle/>
          <a:p>
            <a:pPr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6" y="1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/>
          <a:lstStyle/>
          <a:p>
            <a:pPr algn="r"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2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6" y="9655652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algn="r"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241"/>
            <a:fld id="{443876A9-2062-4F39-B24F-99064A569C72}" type="slidenum">
              <a:rPr lang="hu-HU" smtClean="0">
                <a:solidFill>
                  <a:prstClr val="black"/>
                </a:solidFill>
              </a:rPr>
              <a:pPr defTabSz="911241"/>
              <a:t>21</a:t>
            </a:fld>
            <a:endParaRPr lang="hu-HU" dirty="0" smtClean="0">
              <a:solidFill>
                <a:prstClr val="black"/>
              </a:solidFill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6" y="9655652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algn="r" defTabSz="911241"/>
            <a:fld id="{E3D0C88F-EA3F-46E3-9462-84744C6419D4}" type="slidenum">
              <a:rPr lang="hu-HU" sz="1000">
                <a:solidFill>
                  <a:prstClr val="black"/>
                </a:solidFill>
              </a:rPr>
              <a:pPr algn="r" defTabSz="911241"/>
              <a:t>21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/>
          <a:lstStyle/>
          <a:p>
            <a:pPr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6" y="1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/>
          <a:lstStyle/>
          <a:p>
            <a:pPr algn="r"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2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6" y="9655652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01" tIns="45748" rIns="91501" bIns="45748" anchor="b"/>
          <a:lstStyle/>
          <a:p>
            <a:pPr algn="r" defTabSz="9097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1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4108B-3F5D-43AE-BB11-A9F52791F6B8}" type="slidenum">
              <a:rPr lang="hu-HU" smtClean="0"/>
              <a:pPr/>
              <a:t>22</a:t>
            </a:fld>
            <a:endParaRPr lang="hu-HU" dirty="0" smtClean="0"/>
          </a:p>
        </p:txBody>
      </p:sp>
      <p:sp>
        <p:nvSpPr>
          <p:cNvPr id="6" name="Jegyzetek helye 5"/>
          <p:cNvSpPr txBox="1">
            <a:spLocks/>
          </p:cNvSpPr>
          <p:nvPr/>
        </p:nvSpPr>
        <p:spPr bwMode="auto">
          <a:xfrm>
            <a:off x="473515" y="4153895"/>
            <a:ext cx="6278849" cy="225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99" tIns="45749" rIns="91499" bIns="45749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ankadók világszerte</a:t>
            </a:r>
            <a:endParaRPr kumimoji="0" lang="hu-HU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170177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510" y="4378955"/>
            <a:ext cx="6075675" cy="4206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>
          <a:xfrm>
            <a:off x="565150" y="147638"/>
            <a:ext cx="5668963" cy="3925887"/>
          </a:xfr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1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4108B-3F5D-43AE-BB11-A9F52791F6B8}" type="slidenum">
              <a:rPr lang="hu-HU" smtClean="0"/>
              <a:pPr/>
              <a:t>23</a:t>
            </a:fld>
            <a:endParaRPr lang="hu-HU" dirty="0" smtClean="0"/>
          </a:p>
        </p:txBody>
      </p:sp>
      <p:sp>
        <p:nvSpPr>
          <p:cNvPr id="6" name="Jegyzetek helye 5"/>
          <p:cNvSpPr txBox="1">
            <a:spLocks/>
          </p:cNvSpPr>
          <p:nvPr/>
        </p:nvSpPr>
        <p:spPr bwMode="auto">
          <a:xfrm>
            <a:off x="473515" y="4153895"/>
            <a:ext cx="6278849" cy="225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99" tIns="45749" rIns="91499" bIns="45749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ankadók világszerte</a:t>
            </a:r>
            <a:endParaRPr kumimoji="0" lang="hu-HU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170177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510" y="4378955"/>
            <a:ext cx="6075675" cy="4206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>
          <a:xfrm>
            <a:off x="565150" y="147638"/>
            <a:ext cx="5668963" cy="3925887"/>
          </a:xfr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341"/>
            <a:fld id="{443876A9-2062-4F39-B24F-99064A569C72}" type="slidenum">
              <a:rPr lang="hu-HU" smtClean="0">
                <a:solidFill>
                  <a:prstClr val="black"/>
                </a:solidFill>
              </a:rPr>
              <a:pPr defTabSz="911341"/>
              <a:t>24</a:t>
            </a:fld>
            <a:endParaRPr lang="hu-HU" dirty="0" smtClean="0">
              <a:solidFill>
                <a:prstClr val="black"/>
              </a:solidFill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6" y="9655651"/>
            <a:ext cx="2947381" cy="27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0" tIns="45754" rIns="91510" bIns="45754" anchor="b"/>
          <a:lstStyle/>
          <a:p>
            <a:pPr algn="r" defTabSz="911341"/>
            <a:fld id="{E3D0C88F-EA3F-46E3-9462-84744C6419D4}" type="slidenum">
              <a:rPr lang="hu-HU" sz="1000">
                <a:solidFill>
                  <a:prstClr val="black"/>
                </a:solidFill>
              </a:rPr>
              <a:pPr algn="r" defTabSz="911341"/>
              <a:t>24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0" tIns="45754" rIns="91510" bIns="45754"/>
          <a:lstStyle/>
          <a:p>
            <a:pPr defTabSz="9098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6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0" tIns="45754" rIns="91510" bIns="45754"/>
          <a:lstStyle/>
          <a:p>
            <a:pPr algn="r" defTabSz="9098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0" tIns="45754" rIns="91510" bIns="45754" anchor="b"/>
          <a:lstStyle/>
          <a:p>
            <a:pPr defTabSz="9098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6" y="9655651"/>
            <a:ext cx="2947381" cy="27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0" tIns="45754" rIns="91510" bIns="45754" anchor="b"/>
          <a:lstStyle/>
          <a:p>
            <a:pPr algn="r" defTabSz="909810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3050" y="273050"/>
            <a:ext cx="6205538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266700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100" dirty="0" smtClean="0">
                <a:solidFill>
                  <a:srgbClr val="000000"/>
                </a:solidFill>
              </a:rPr>
              <a:t>Mindez </a:t>
            </a:r>
            <a:r>
              <a:rPr lang="hu-HU" sz="1100" dirty="0">
                <a:solidFill>
                  <a:srgbClr val="000000"/>
                </a:solidFill>
              </a:rPr>
              <a:t>tükröződik a</a:t>
            </a:r>
            <a:r>
              <a:rPr lang="hu-HU" sz="1100" dirty="0"/>
              <a:t> </a:t>
            </a:r>
            <a:r>
              <a:rPr lang="hu-HU" sz="1100" dirty="0" err="1"/>
              <a:t>Német-Magyar</a:t>
            </a:r>
            <a:r>
              <a:rPr lang="hu-HU" sz="1100" dirty="0"/>
              <a:t> Ipari és Kereskedelmi kamara éves konjunktúra-jelentésében is. A kamara ugyanis minden év első felében megkérdezi a régiós országokban tevékenykedő német és osztrák cégek vezetőit arról, hogy különböző szempontok szerint miképpen ítélik meg az adott ország befektetői környezetének alakulását. Emiatt a jelentésekből nemcsak arra lehet következtetni, hogy az egyes országokon belül miképpen alakulnak a folyamatok, hanem arra is, hogy mindez országok között milyen elmozdulásokat eredményez. </a:t>
            </a:r>
          </a:p>
          <a:p>
            <a:pPr defTabSz="266700">
              <a:spcBef>
                <a:spcPts val="0"/>
              </a:spcBef>
              <a:spcAft>
                <a:spcPts val="0"/>
              </a:spcAft>
              <a:defRPr/>
            </a:pPr>
            <a:endParaRPr lang="hu-HU" sz="1100" dirty="0"/>
          </a:p>
          <a:p>
            <a:pPr defTabSz="266700">
              <a:spcBef>
                <a:spcPts val="0"/>
              </a:spcBef>
              <a:spcAft>
                <a:spcPts val="0"/>
              </a:spcAft>
              <a:defRPr/>
            </a:pPr>
            <a:r>
              <a:rPr lang="hu-HU" sz="1100" dirty="0"/>
              <a:t>A kamara 2012. évi felmérésében 196 különböző ágazatban tevékenykedő, különböző méretű cég vezetőjét </a:t>
            </a:r>
            <a:r>
              <a:rPr lang="hu-HU" sz="1100" dirty="0" smtClean="0"/>
              <a:t>kérdezték </a:t>
            </a:r>
            <a:r>
              <a:rPr lang="hu-HU" sz="1100" dirty="0"/>
              <a:t>meg a magyarországi folyamatokról alkotott véleményükkel kapcsolatban. Az eredmények drámai elmozdulást mutatnak, lényegében függetlenül attól, hogy az adott cég melyik ágazatban tevékenykedik:</a:t>
            </a:r>
          </a:p>
          <a:p>
            <a:pPr marL="228600" indent="-228600" defTabSz="2667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hu-HU" sz="1100" dirty="0"/>
              <a:t>A régiós tőkevonzási rangsorban Magyarország a 10. helyre esett vissza a 4. helyről (a 2011. évi jó helyezés a jelentés szerint elsősorban a megelőlegezett bizalomról szólt).</a:t>
            </a:r>
          </a:p>
          <a:p>
            <a:pPr marL="228600" indent="-228600" defTabSz="2667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hu-HU" sz="1100" dirty="0"/>
              <a:t>A cégvezetők szerint a gazdaságpolitika legsürgősebben orvosolandó kérdésévé 2007 után ismét a gazdaságpolitika kiszámíthatatlansága vált, miközben a kiszámíthatósággal kapcsolatos elégedetlenség új csúcsra emelkedett.</a:t>
            </a:r>
          </a:p>
          <a:p>
            <a:pPr marL="228600" indent="-228600" defTabSz="2667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hu-HU" sz="1100" dirty="0"/>
              <a:t>A cégvezetők szerint a gazdaságpolitika második legsürgősebben orvosolandó kérdésévé a jogbiztonság vált, ami 2010 előtt Magyarország esetében soha nem volt az első 10 legfontosabb probléma között és drámaian megemelkedett a nagyon elégedetlenek aránya. </a:t>
            </a:r>
          </a:p>
          <a:p>
            <a:pPr marL="228600" indent="-228600" defTabSz="2667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hu-HU" sz="1100" dirty="0"/>
              <a:t>A befektetők immár 29%-a gondolja úgy, hogy ha ismét döntene, nem Magyarországot választaná befektetései helyszínéül, ami mindenkori csúcs (2008: 27%, 2011: 17%). </a:t>
            </a:r>
            <a:endParaRPr lang="en-GB" sz="1100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409"/>
            <a:fld id="{443876A9-2062-4F39-B24F-99064A569C72}" type="slidenum">
              <a:rPr lang="hu-HU" smtClean="0"/>
              <a:pPr defTabSz="911409"/>
              <a:t>25</a:t>
            </a:fld>
            <a:endParaRPr lang="hu-HU" dirty="0" smtClean="0"/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11409"/>
            <a:fld id="{E3D0C88F-EA3F-46E3-9462-84744C6419D4}" type="slidenum">
              <a:rPr lang="hu-HU" sz="1000" b="0"/>
              <a:pPr algn="r" defTabSz="911409"/>
              <a:t>25</a:t>
            </a:fld>
            <a:endParaRPr lang="hu-HU" sz="1000" b="0" dirty="0"/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defTabSz="909877"/>
            <a:endParaRPr lang="en-GB" sz="1000" b="0" dirty="0"/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4" y="0"/>
            <a:ext cx="294738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algn="r" defTabSz="909877"/>
            <a:endParaRPr lang="en-GB" sz="1000" b="0" dirty="0"/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defTabSz="909877"/>
            <a:endParaRPr lang="en-GB" sz="1000" b="0" dirty="0"/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09877"/>
            <a:endParaRPr lang="en-GB" sz="1000" b="0" dirty="0"/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26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27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28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1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4108B-3F5D-43AE-BB11-A9F52791F6B8}" type="slidenum">
              <a:rPr lang="hu-HU" smtClean="0"/>
              <a:pPr/>
              <a:t>29</a:t>
            </a:fld>
            <a:endParaRPr lang="hu-HU" dirty="0" smtClean="0"/>
          </a:p>
        </p:txBody>
      </p:sp>
      <p:sp>
        <p:nvSpPr>
          <p:cNvPr id="6" name="Jegyzetek helye 5"/>
          <p:cNvSpPr txBox="1">
            <a:spLocks/>
          </p:cNvSpPr>
          <p:nvPr/>
        </p:nvSpPr>
        <p:spPr bwMode="auto">
          <a:xfrm>
            <a:off x="473515" y="4153895"/>
            <a:ext cx="6278849" cy="225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99" tIns="45749" rIns="91499" bIns="45749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ankadók világszerte</a:t>
            </a:r>
            <a:endParaRPr kumimoji="0" lang="hu-HU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5170177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510" y="4378955"/>
            <a:ext cx="6075675" cy="4206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>
          <a:xfrm>
            <a:off x="565150" y="147638"/>
            <a:ext cx="5668963" cy="3925887"/>
          </a:xfr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409"/>
            <a:fld id="{443876A9-2062-4F39-B24F-99064A569C72}" type="slidenum">
              <a:rPr lang="hu-HU" smtClean="0"/>
              <a:pPr defTabSz="911409"/>
              <a:t>7</a:t>
            </a:fld>
            <a:endParaRPr lang="hu-HU" dirty="0" smtClean="0"/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11409"/>
            <a:fld id="{E3D0C88F-EA3F-46E3-9462-84744C6419D4}" type="slidenum">
              <a:rPr lang="hu-HU" sz="1000" b="0"/>
              <a:pPr algn="r" defTabSz="911409"/>
              <a:t>7</a:t>
            </a:fld>
            <a:endParaRPr lang="hu-HU" sz="1000" b="0" dirty="0"/>
          </a:p>
        </p:txBody>
      </p:sp>
      <p:sp>
        <p:nvSpPr>
          <p:cNvPr id="17412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defTabSz="909877"/>
            <a:endParaRPr lang="en-GB" sz="1000" b="0" dirty="0"/>
          </a:p>
        </p:txBody>
      </p:sp>
      <p:sp>
        <p:nvSpPr>
          <p:cNvPr id="17413" name="Rectangle 3"/>
          <p:cNvSpPr txBox="1">
            <a:spLocks noGrp="1" noChangeArrowheads="1"/>
          </p:cNvSpPr>
          <p:nvPr/>
        </p:nvSpPr>
        <p:spPr bwMode="auto">
          <a:xfrm>
            <a:off x="3848774" y="0"/>
            <a:ext cx="294738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/>
          <a:lstStyle/>
          <a:p>
            <a:pPr algn="r" defTabSz="909877"/>
            <a:endParaRPr lang="en-GB" sz="1000" b="0" dirty="0"/>
          </a:p>
        </p:txBody>
      </p:sp>
      <p:sp>
        <p:nvSpPr>
          <p:cNvPr id="17414" name="Rectangle 6"/>
          <p:cNvSpPr txBox="1">
            <a:spLocks noGrp="1" noChangeArrowheads="1"/>
          </p:cNvSpPr>
          <p:nvPr/>
        </p:nvSpPr>
        <p:spPr bwMode="auto">
          <a:xfrm>
            <a:off x="0" y="9655651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defTabSz="909877"/>
            <a:endParaRPr lang="en-GB" sz="1000" b="0" dirty="0"/>
          </a:p>
        </p:txBody>
      </p:sp>
      <p:sp>
        <p:nvSpPr>
          <p:cNvPr id="17415" name="Rectangle 7"/>
          <p:cNvSpPr txBox="1">
            <a:spLocks noGrp="1" noChangeArrowheads="1"/>
          </p:cNvSpPr>
          <p:nvPr/>
        </p:nvSpPr>
        <p:spPr bwMode="auto">
          <a:xfrm>
            <a:off x="3848774" y="9655651"/>
            <a:ext cx="294738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7" tIns="45757" rIns="91517" bIns="45757" anchor="b"/>
          <a:lstStyle/>
          <a:p>
            <a:pPr algn="r" defTabSz="909877"/>
            <a:endParaRPr lang="en-GB" sz="1000" b="0" dirty="0"/>
          </a:p>
        </p:txBody>
      </p:sp>
      <p:sp>
        <p:nvSpPr>
          <p:cNvPr id="17416" name="Rectangle 4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4638" y="273050"/>
            <a:ext cx="6202362" cy="4295775"/>
          </a:xfrm>
          <a:ln/>
        </p:spPr>
      </p:sp>
      <p:sp>
        <p:nvSpPr>
          <p:cNvPr id="9" name="Jegyzetek helye 8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8272"/>
            <a:fld id="{77D9856A-49E3-4BCD-BF54-010B014AA9CE}" type="slidenum">
              <a:rPr lang="hu-HU" sz="1000">
                <a:solidFill>
                  <a:prstClr val="black"/>
                </a:solidFill>
              </a:rPr>
              <a:pPr algn="r" defTabSz="908272"/>
              <a:t>8</a:t>
            </a:fld>
            <a:endParaRPr lang="hu-HU" sz="1000" dirty="0">
              <a:solidFill>
                <a:prstClr val="black"/>
              </a:solidFill>
            </a:endParaRPr>
          </a:p>
        </p:txBody>
      </p:sp>
      <p:sp>
        <p:nvSpPr>
          <p:cNvPr id="18436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45862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7" name="Rectangle 3"/>
          <p:cNvSpPr txBox="1">
            <a:spLocks noGrp="1" noChangeArrowheads="1"/>
          </p:cNvSpPr>
          <p:nvPr/>
        </p:nvSpPr>
        <p:spPr bwMode="auto">
          <a:xfrm>
            <a:off x="3848779" y="0"/>
            <a:ext cx="2947381" cy="27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8" name="Rectangle 6"/>
          <p:cNvSpPr txBox="1">
            <a:spLocks noGrp="1" noChangeArrowheads="1"/>
          </p:cNvSpPr>
          <p:nvPr/>
        </p:nvSpPr>
        <p:spPr bwMode="auto">
          <a:xfrm>
            <a:off x="0" y="9655655"/>
            <a:ext cx="2945862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8439" name="Rectangle 7"/>
          <p:cNvSpPr txBox="1">
            <a:spLocks noGrp="1" noChangeArrowheads="1"/>
          </p:cNvSpPr>
          <p:nvPr/>
        </p:nvSpPr>
        <p:spPr bwMode="auto">
          <a:xfrm>
            <a:off x="3848779" y="9655655"/>
            <a:ext cx="2947381" cy="27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02" tIns="45601" rIns="91202" bIns="45601" anchor="b"/>
          <a:lstStyle/>
          <a:p>
            <a:pPr algn="r" defTabSz="906747"/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0" name="Diakép helye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Jegyzetek helye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26100-5637-4278-95C4-7A3BD6612254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460106-296F-42F8-A14E-F5930AC73B42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DA372-2272-411E-9940-C1B0CEA5A5E4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1C3EE0-243C-4E8E-BF9A-2BB8D9AC748F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18375" y="188913"/>
            <a:ext cx="2379663" cy="59769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88913"/>
            <a:ext cx="6986587" cy="59769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EF05D5-E8EE-4DBB-A214-C663D3EDF591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4238" y="188913"/>
            <a:ext cx="8785225" cy="3222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Cím é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84238" y="188913"/>
            <a:ext cx="8785225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idx="1"/>
          </p:nvPr>
        </p:nvSpPr>
        <p:spPr>
          <a:xfrm>
            <a:off x="179388" y="981075"/>
            <a:ext cx="9518650" cy="5184775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13ADC-98C6-4CE4-9A01-0A97B1E8F307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7788275" y="6278563"/>
            <a:ext cx="1873250" cy="481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" name="Picture 3" descr="60éves_OTP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91450" y="5005388"/>
            <a:ext cx="1887538" cy="1303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4049713"/>
            <a:ext cx="9907588" cy="280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Rectangle 7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648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88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39750" y="1989138"/>
            <a:ext cx="8637588" cy="1439862"/>
          </a:xfrm>
        </p:spPr>
        <p:txBody>
          <a:bodyPr anchor="b"/>
          <a:lstStyle>
            <a:lvl1pPr>
              <a:defRPr sz="2800">
                <a:solidFill>
                  <a:srgbClr val="006946"/>
                </a:solidFill>
              </a:defRPr>
            </a:lvl1pPr>
          </a:lstStyle>
          <a:p>
            <a:endParaRPr lang="en-GB"/>
          </a:p>
        </p:txBody>
      </p:sp>
      <p:sp>
        <p:nvSpPr>
          <p:cNvPr id="88883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39750" y="3598863"/>
            <a:ext cx="7197725" cy="1079500"/>
          </a:xfrm>
        </p:spPr>
        <p:txBody>
          <a:bodyPr anchor="b"/>
          <a:lstStyle>
            <a:lvl1pPr marL="0" indent="0">
              <a:spcBef>
                <a:spcPct val="0"/>
              </a:spcBef>
              <a:buFontTx/>
              <a:buNone/>
              <a:defRPr sz="2000" i="1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93095-40BF-4B01-B290-C44C7BEDFF71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3EED5-12EB-4485-9F33-5469850A1A80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7ACB1-B04B-4003-850D-F84257A15DC6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0A7AD-3FC8-40BB-8246-73A06311F18E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5971F-D610-4ECB-877C-CA90FBFDD0A4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E0C3B7-B863-4720-A3A0-EF60D4022CB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C9CEB-773C-4460-84BC-71C496CA164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4316C0-4796-4A99-B784-73AC88DC607C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D6D61C-96CA-429B-B215-692E06214610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B40AB-86E6-4AE7-871D-F1922B4794DB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2663" y="107950"/>
            <a:ext cx="2384425" cy="605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07950"/>
            <a:ext cx="7000875" cy="605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A68522-CACA-4918-94B4-F90F343B9642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Cím é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12800" y="107950"/>
            <a:ext cx="8904288" cy="5048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idx="1"/>
          </p:nvPr>
        </p:nvSpPr>
        <p:spPr>
          <a:xfrm>
            <a:off x="179388" y="981075"/>
            <a:ext cx="9518650" cy="5184775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06928-A4A0-4248-B76D-C91158940968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7788275" y="6278563"/>
            <a:ext cx="1873250" cy="481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" name="Picture 3" descr="60éves_OTP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91450" y="5005388"/>
            <a:ext cx="1887538" cy="1303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4049713"/>
            <a:ext cx="9907588" cy="280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Rectangle 7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6616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Rectangle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883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39750" y="1989138"/>
            <a:ext cx="8637588" cy="1439862"/>
          </a:xfrm>
        </p:spPr>
        <p:txBody>
          <a:bodyPr anchor="b"/>
          <a:lstStyle>
            <a:lvl1pPr>
              <a:defRPr sz="2800">
                <a:solidFill>
                  <a:srgbClr val="006946"/>
                </a:solidFill>
              </a:defRPr>
            </a:lvl1pPr>
          </a:lstStyle>
          <a:p>
            <a:endParaRPr lang="en-GB"/>
          </a:p>
        </p:txBody>
      </p:sp>
      <p:sp>
        <p:nvSpPr>
          <p:cNvPr id="88883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539750" y="3598863"/>
            <a:ext cx="7197725" cy="1079500"/>
          </a:xfrm>
        </p:spPr>
        <p:txBody>
          <a:bodyPr anchor="b"/>
          <a:lstStyle>
            <a:lvl1pPr marL="0" indent="0">
              <a:spcBef>
                <a:spcPct val="0"/>
              </a:spcBef>
              <a:buFontTx/>
              <a:buNone/>
              <a:defRPr sz="2000" i="1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93095-40BF-4B01-B290-C44C7BEDFF71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3EED5-12EB-4485-9F33-5469850A1A80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0A7AD-3FC8-40BB-8246-73A06311F18E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5971F-D610-4ECB-877C-CA90FBFDD0A4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E0C3B7-B863-4720-A3A0-EF60D4022CB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C9CEB-773C-4460-84BC-71C496CA164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4316C0-4796-4A99-B784-73AC88DC607C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D6D61C-96CA-429B-B215-692E06214610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B40AB-86E6-4AE7-871D-F1922B4794DB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2663" y="107950"/>
            <a:ext cx="2384425" cy="605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07950"/>
            <a:ext cx="7000875" cy="605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A68522-CACA-4918-94B4-F90F343B9642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132D9E-902A-4D85-BDB5-9BE3A8BECD6E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Cím é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12800" y="107950"/>
            <a:ext cx="8904288" cy="5048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idx="1"/>
          </p:nvPr>
        </p:nvSpPr>
        <p:spPr>
          <a:xfrm>
            <a:off x="179388" y="981075"/>
            <a:ext cx="9518650" cy="5184775"/>
          </a:xfrm>
        </p:spPr>
        <p:txBody>
          <a:bodyPr/>
          <a:lstStyle/>
          <a:p>
            <a:pPr lvl="0"/>
            <a:endParaRPr lang="hu-H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06928-A4A0-4248-B76D-C91158940968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7ACB1-B04B-4003-850D-F84257A15DC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139238" y="6669360"/>
            <a:ext cx="765175" cy="187053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274652-5352-42A3-BB42-693596C5651D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767536" y="143635"/>
            <a:ext cx="9136878" cy="322262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5A1E46-F817-4473-8C7F-CB09A7AAACE9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7B402D-A0B2-482E-8DFA-7E7E776ED45C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388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981075"/>
            <a:ext cx="4683125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16B9D0-257F-4B6E-876C-4843EE7C8556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0D4BC7-8B0D-41FC-8E27-444DFE8F2EFF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EBA7EE-B53E-49F1-B1FC-5DC730F24B07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1.bin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1.pn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426" name="Line 2"/>
          <p:cNvSpPr>
            <a:spLocks noChangeShapeType="1"/>
          </p:cNvSpPr>
          <p:nvPr/>
        </p:nvSpPr>
        <p:spPr bwMode="ltGray">
          <a:xfrm>
            <a:off x="812800" y="549275"/>
            <a:ext cx="8893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274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57256" y="233363"/>
            <a:ext cx="8785225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pic>
        <p:nvPicPr>
          <p:cNvPr id="1127429" name="Picture 5"/>
          <p:cNvPicPr>
            <a:picLocks noChangeAspect="1" noChangeArrowheads="1"/>
          </p:cNvPicPr>
          <p:nvPr/>
        </p:nvPicPr>
        <p:blipFill>
          <a:blip r:embed="rId4" cstate="print"/>
          <a:srcRect l="82291" r="4323" b="22244"/>
          <a:stretch>
            <a:fillRect/>
          </a:stretch>
        </p:blipFill>
        <p:spPr bwMode="auto">
          <a:xfrm>
            <a:off x="57156" y="0"/>
            <a:ext cx="600075" cy="620713"/>
          </a:xfrm>
          <a:prstGeom prst="rect">
            <a:avLst/>
          </a:prstGeom>
          <a:noFill/>
        </p:spPr>
      </p:pic>
      <p:sp>
        <p:nvSpPr>
          <p:cNvPr id="11274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28138" y="6562725"/>
            <a:ext cx="76517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80000"/>
              </a:lnSpc>
              <a:defRPr sz="1000"/>
            </a:lvl1pPr>
          </a:lstStyle>
          <a:p>
            <a:fld id="{94300674-9382-4FC8-9841-D18CF51D225C}" type="slidenum">
              <a:rPr lang="en-US"/>
              <a:pPr/>
              <a:t>‹#›</a:t>
            </a:fld>
            <a:endParaRPr lang="hu-HU" dirty="0"/>
          </a:p>
          <a:p>
            <a:r>
              <a:rPr lang="en-US" dirty="0" smtClean="0"/>
              <a:t>0/18 </a:t>
            </a:r>
            <a:r>
              <a:rPr lang="en-US" dirty="0" err="1" smtClean="0"/>
              <a:t>pld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5094" r:id="rId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algn="l" rtl="0" fontAlgn="base">
        <a:spcBef>
          <a:spcPct val="10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defRPr sz="1600" i="1">
          <a:solidFill>
            <a:schemeClr val="tx1"/>
          </a:solidFill>
          <a:latin typeface="+mn-lt"/>
          <a:ea typeface="+mn-ea"/>
          <a:cs typeface="+mn-cs"/>
        </a:defRPr>
      </a:lvl1pPr>
      <a:lvl2pPr marL="238125" indent="-236538" algn="l" rtl="0" fontAlgn="base">
        <a:spcBef>
          <a:spcPct val="50000"/>
        </a:spcBef>
        <a:spcAft>
          <a:spcPct val="0"/>
        </a:spcAft>
        <a:buClr>
          <a:srgbClr val="E6D199"/>
        </a:buClr>
        <a:buSzPct val="90000"/>
        <a:buFont typeface="Wingdings" pitchFamily="2" charset="2"/>
        <a:buChar char="l"/>
        <a:defRPr sz="1400" b="1" i="1">
          <a:solidFill>
            <a:schemeClr val="tx1"/>
          </a:solidFill>
          <a:latin typeface="+mj-lt"/>
        </a:defRPr>
      </a:lvl2pPr>
      <a:lvl3pPr marL="474663" indent="-209550" algn="l" rtl="0" fontAlgn="base">
        <a:spcBef>
          <a:spcPct val="15000"/>
        </a:spcBef>
        <a:spcAft>
          <a:spcPct val="0"/>
        </a:spcAft>
        <a:buClr>
          <a:srgbClr val="008000"/>
        </a:buClr>
        <a:buSzPct val="90000"/>
        <a:buChar char="–"/>
        <a:defRPr sz="1200">
          <a:solidFill>
            <a:schemeClr val="tx1"/>
          </a:solidFill>
          <a:latin typeface="+mj-lt"/>
        </a:defRPr>
      </a:lvl3pPr>
      <a:lvl4pPr marL="884238" indent="-219075" algn="l" rtl="0" fontAlgn="base">
        <a:spcBef>
          <a:spcPct val="15000"/>
        </a:spcBef>
        <a:spcAft>
          <a:spcPct val="0"/>
        </a:spcAft>
        <a:buClr>
          <a:srgbClr val="008000"/>
        </a:buClr>
        <a:buSzPct val="90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4pPr>
      <a:lvl5pPr marL="13335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5pPr>
      <a:lvl6pPr marL="17907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6pPr>
      <a:lvl7pPr marL="22479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7pPr>
      <a:lvl8pPr marL="27051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8pPr>
      <a:lvl9pPr marL="31623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6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21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0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25400" tIns="0" rIns="25400" bIns="0" anchor="ctr"/>
          <a:lstStyle/>
          <a:p>
            <a:pPr algn="ctr">
              <a:defRPr/>
            </a:pPr>
            <a:r>
              <a:rPr lang="hu-HU" sz="1400">
                <a:solidFill>
                  <a:srgbClr val="000000"/>
                </a:solidFill>
                <a:latin typeface="Arial" charset="0"/>
                <a:cs typeface="Arial" charset="0"/>
              </a:rPr>
              <a:t>2</a:t>
            </a:r>
          </a:p>
        </p:txBody>
      </p:sp>
      <p:pic>
        <p:nvPicPr>
          <p:cNvPr id="1029" name="Picture 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gray">
          <a:xfrm>
            <a:off x="7340600" y="4375150"/>
            <a:ext cx="2379663" cy="2082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7050094" y="4238637"/>
            <a:ext cx="2854325" cy="16224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just">
              <a:spcBef>
                <a:spcPct val="50000"/>
              </a:spcBef>
              <a:buClr>
                <a:srgbClr val="000000"/>
              </a:buClr>
              <a:defRPr/>
            </a:pPr>
            <a:endParaRPr lang="hu-HU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3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84244" y="188913"/>
            <a:ext cx="8785225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10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buChar char="•"/>
        <a:defRPr sz="1600" i="1">
          <a:solidFill>
            <a:schemeClr val="tx1"/>
          </a:solidFill>
          <a:latin typeface="+mn-lt"/>
          <a:ea typeface="+mn-ea"/>
          <a:cs typeface="+mn-cs"/>
        </a:defRPr>
      </a:lvl1pPr>
      <a:lvl2pPr marL="238125" indent="-236538" algn="l" rtl="0" eaLnBrk="0" fontAlgn="base" hangingPunct="0">
        <a:spcBef>
          <a:spcPct val="50000"/>
        </a:spcBef>
        <a:spcAft>
          <a:spcPct val="0"/>
        </a:spcAft>
        <a:buClr>
          <a:srgbClr val="E6D199"/>
        </a:buClr>
        <a:buSzPct val="90000"/>
        <a:buFont typeface="Wingdings" pitchFamily="2" charset="2"/>
        <a:buChar char="l"/>
        <a:defRPr sz="1400" b="1" i="1">
          <a:solidFill>
            <a:schemeClr val="tx1"/>
          </a:solidFill>
          <a:latin typeface="+mj-lt"/>
        </a:defRPr>
      </a:lvl2pPr>
      <a:lvl3pPr marL="474663" indent="-209550" algn="l" rtl="0" eaLnBrk="0" fontAlgn="base" hangingPunct="0">
        <a:spcBef>
          <a:spcPct val="15000"/>
        </a:spcBef>
        <a:spcAft>
          <a:spcPct val="0"/>
        </a:spcAft>
        <a:buClr>
          <a:srgbClr val="008000"/>
        </a:buClr>
        <a:buSzPct val="90000"/>
        <a:buChar char="–"/>
        <a:defRPr sz="1200">
          <a:solidFill>
            <a:schemeClr val="tx1"/>
          </a:solidFill>
          <a:latin typeface="+mj-lt"/>
        </a:defRPr>
      </a:lvl3pPr>
      <a:lvl4pPr marL="884238" indent="-219075" algn="l" rtl="0" eaLnBrk="0" fontAlgn="base" hangingPunct="0">
        <a:spcBef>
          <a:spcPct val="15000"/>
        </a:spcBef>
        <a:spcAft>
          <a:spcPct val="0"/>
        </a:spcAft>
        <a:buClr>
          <a:srgbClr val="008000"/>
        </a:buClr>
        <a:buSzPct val="90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4pPr>
      <a:lvl5pPr marL="1333500" indent="-258763" algn="l" rtl="0" eaLnBrk="0" fontAlgn="base" hangingPunct="0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5pPr>
      <a:lvl6pPr marL="17907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6pPr>
      <a:lvl7pPr marL="22479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7pPr>
      <a:lvl8pPr marL="27051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8pPr>
      <a:lvl9pPr marL="31623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981075"/>
            <a:ext cx="9518650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6451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405563"/>
            <a:ext cx="59404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600" b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6451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88475" y="6597650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>
                <a:latin typeface="Arial" pitchFamily="34" charset="0"/>
              </a:defRPr>
            </a:lvl1pPr>
          </a:lstStyle>
          <a:p>
            <a:pPr>
              <a:defRPr/>
            </a:pPr>
            <a:fld id="{E4AA3487-2D1B-4022-A654-4958DA4EDBE3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193088" y="6597650"/>
            <a:ext cx="144303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 i="1">
                <a:solidFill>
                  <a:srgbClr val="339966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/>
          </a:p>
        </p:txBody>
      </p:sp>
      <p:pic>
        <p:nvPicPr>
          <p:cNvPr id="135174" name="Picture 11"/>
          <p:cNvPicPr>
            <a:picLocks noChangeAspect="1" noChangeArrowheads="1"/>
          </p:cNvPicPr>
          <p:nvPr/>
        </p:nvPicPr>
        <p:blipFill>
          <a:blip r:embed="rId15" cstate="print"/>
          <a:srcRect l="82291" r="4323" b="22244"/>
          <a:stretch>
            <a:fillRect/>
          </a:stretch>
        </p:blipFill>
        <p:spPr bwMode="auto">
          <a:xfrm>
            <a:off x="57150" y="0"/>
            <a:ext cx="6000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175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884238" y="188913"/>
            <a:ext cx="8785225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64527" name="Line 15"/>
          <p:cNvSpPr>
            <a:spLocks noChangeShapeType="1"/>
          </p:cNvSpPr>
          <p:nvPr/>
        </p:nvSpPr>
        <p:spPr bwMode="ltGray">
          <a:xfrm>
            <a:off x="812800" y="549275"/>
            <a:ext cx="8893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b="1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48" r:id="rId1"/>
    <p:sldLayoutId id="2147485049" r:id="rId2"/>
    <p:sldLayoutId id="2147485050" r:id="rId3"/>
    <p:sldLayoutId id="2147485051" r:id="rId4"/>
    <p:sldLayoutId id="2147485052" r:id="rId5"/>
    <p:sldLayoutId id="2147485053" r:id="rId6"/>
    <p:sldLayoutId id="2147485054" r:id="rId7"/>
    <p:sldLayoutId id="2147485055" r:id="rId8"/>
    <p:sldLayoutId id="2147485056" r:id="rId9"/>
    <p:sldLayoutId id="2147485057" r:id="rId10"/>
    <p:sldLayoutId id="2147485058" r:id="rId11"/>
    <p:sldLayoutId id="2147485059" r:id="rId12"/>
    <p:sldLayoutId id="2147485060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just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just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006F51"/>
          </a:solidFill>
          <a:latin typeface="+mn-lt"/>
        </a:defRPr>
      </a:lvl2pPr>
      <a:lvl3pPr marL="11430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6F51"/>
          </a:solidFill>
          <a:latin typeface="+mn-lt"/>
        </a:defRPr>
      </a:lvl3pPr>
      <a:lvl4pPr marL="16002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4pPr>
      <a:lvl5pPr marL="20574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5pPr>
      <a:lvl6pPr marL="25146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6pPr>
      <a:lvl7pPr marL="29718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7pPr>
      <a:lvl8pPr marL="34290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8pPr>
      <a:lvl9pPr marL="38862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107950"/>
            <a:ext cx="8904288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981075"/>
            <a:ext cx="9518650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88781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405563"/>
            <a:ext cx="59404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600" b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8878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88475" y="6597650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>
                <a:latin typeface="Arial" pitchFamily="34" charset="0"/>
              </a:defRPr>
            </a:lvl1pPr>
          </a:lstStyle>
          <a:p>
            <a:pPr>
              <a:defRPr/>
            </a:pPr>
            <a:fld id="{AA27D8F6-8336-45C1-82E5-B572F986BD25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887814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193088" y="6597650"/>
            <a:ext cx="144303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 i="1">
                <a:solidFill>
                  <a:srgbClr val="339966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/>
          </a:p>
        </p:txBody>
      </p:sp>
      <p:pic>
        <p:nvPicPr>
          <p:cNvPr id="149511" name="Picture 7"/>
          <p:cNvPicPr>
            <a:picLocks noChangeAspect="1" noChangeArrowheads="1"/>
          </p:cNvPicPr>
          <p:nvPr userDrawn="1"/>
        </p:nvPicPr>
        <p:blipFill>
          <a:blip r:embed="rId14" cstate="print"/>
          <a:srcRect l="82291" r="4323" b="22244"/>
          <a:stretch>
            <a:fillRect/>
          </a:stretch>
        </p:blipFill>
        <p:spPr bwMode="auto">
          <a:xfrm>
            <a:off x="57150" y="0"/>
            <a:ext cx="6000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7816" name="Line 8"/>
          <p:cNvSpPr>
            <a:spLocks noChangeShapeType="1"/>
          </p:cNvSpPr>
          <p:nvPr userDrawn="1"/>
        </p:nvSpPr>
        <p:spPr bwMode="ltGray">
          <a:xfrm>
            <a:off x="812800" y="549275"/>
            <a:ext cx="8893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b="1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62" r:id="rId1"/>
    <p:sldLayoutId id="2147485063" r:id="rId2"/>
    <p:sldLayoutId id="2147485064" r:id="rId3"/>
    <p:sldLayoutId id="2147485065" r:id="rId4"/>
    <p:sldLayoutId id="2147485066" r:id="rId5"/>
    <p:sldLayoutId id="2147485067" r:id="rId6"/>
    <p:sldLayoutId id="2147485068" r:id="rId7"/>
    <p:sldLayoutId id="2147485069" r:id="rId8"/>
    <p:sldLayoutId id="2147485070" r:id="rId9"/>
    <p:sldLayoutId id="2147485071" r:id="rId10"/>
    <p:sldLayoutId id="2147485072" r:id="rId11"/>
    <p:sldLayoutId id="214748507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just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just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006F51"/>
          </a:solidFill>
          <a:latin typeface="+mn-lt"/>
        </a:defRPr>
      </a:lvl2pPr>
      <a:lvl3pPr marL="11430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6F51"/>
          </a:solidFill>
          <a:latin typeface="+mn-lt"/>
        </a:defRPr>
      </a:lvl3pPr>
      <a:lvl4pPr marL="16002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4pPr>
      <a:lvl5pPr marL="20574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5pPr>
      <a:lvl6pPr marL="25146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6pPr>
      <a:lvl7pPr marL="29718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7pPr>
      <a:lvl8pPr marL="34290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8pPr>
      <a:lvl9pPr marL="38862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107950"/>
            <a:ext cx="8904288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49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981075"/>
            <a:ext cx="9518650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88781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405563"/>
            <a:ext cx="59404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600" b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8878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88475" y="6597650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>
                <a:latin typeface="Arial" pitchFamily="34" charset="0"/>
              </a:defRPr>
            </a:lvl1pPr>
          </a:lstStyle>
          <a:p>
            <a:pPr>
              <a:defRPr/>
            </a:pPr>
            <a:fld id="{AA27D8F6-8336-45C1-82E5-B572F986BD25}" type="slidenum">
              <a:rPr lang="hu-H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000000"/>
              </a:solidFill>
            </a:endParaRPr>
          </a:p>
        </p:txBody>
      </p:sp>
      <p:sp>
        <p:nvSpPr>
          <p:cNvPr id="887814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193088" y="6597650"/>
            <a:ext cx="144303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 b="0" i="1">
                <a:solidFill>
                  <a:srgbClr val="339966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hu-HU"/>
          </a:p>
        </p:txBody>
      </p:sp>
      <p:pic>
        <p:nvPicPr>
          <p:cNvPr id="149511" name="Picture 7"/>
          <p:cNvPicPr>
            <a:picLocks noChangeAspect="1" noChangeArrowheads="1"/>
          </p:cNvPicPr>
          <p:nvPr userDrawn="1"/>
        </p:nvPicPr>
        <p:blipFill>
          <a:blip r:embed="rId19" cstate="print"/>
          <a:srcRect l="82291" r="4323" b="22244"/>
          <a:stretch>
            <a:fillRect/>
          </a:stretch>
        </p:blipFill>
        <p:spPr bwMode="auto">
          <a:xfrm>
            <a:off x="57150" y="0"/>
            <a:ext cx="60007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7816" name="Line 8"/>
          <p:cNvSpPr>
            <a:spLocks noChangeShapeType="1"/>
          </p:cNvSpPr>
          <p:nvPr userDrawn="1"/>
        </p:nvSpPr>
        <p:spPr bwMode="ltGray">
          <a:xfrm>
            <a:off x="812800" y="549275"/>
            <a:ext cx="8893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defRPr/>
            </a:pPr>
            <a:endParaRPr lang="en-US" b="1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75" r:id="rId1"/>
    <p:sldLayoutId id="2147485076" r:id="rId2"/>
    <p:sldLayoutId id="2147485077" r:id="rId3"/>
    <p:sldLayoutId id="2147485078" r:id="rId4"/>
    <p:sldLayoutId id="2147485079" r:id="rId5"/>
    <p:sldLayoutId id="2147485080" r:id="rId6"/>
    <p:sldLayoutId id="2147485081" r:id="rId7"/>
    <p:sldLayoutId id="2147485082" r:id="rId8"/>
    <p:sldLayoutId id="2147485083" r:id="rId9"/>
    <p:sldLayoutId id="2147485084" r:id="rId10"/>
    <p:sldLayoutId id="2147485085" r:id="rId11"/>
    <p:sldLayoutId id="2147485086" r:id="rId12"/>
    <p:sldLayoutId id="2147485088" r:id="rId13"/>
    <p:sldLayoutId id="2147485089" r:id="rId14"/>
    <p:sldLayoutId id="2147485090" r:id="rId15"/>
    <p:sldLayoutId id="2147485091" r:id="rId16"/>
    <p:sldLayoutId id="2147485092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just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just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rgbClr val="006F51"/>
          </a:solidFill>
          <a:latin typeface="+mn-lt"/>
        </a:defRPr>
      </a:lvl2pPr>
      <a:lvl3pPr marL="11430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6F51"/>
          </a:solidFill>
          <a:latin typeface="+mn-lt"/>
        </a:defRPr>
      </a:lvl3pPr>
      <a:lvl4pPr marL="16002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4pPr>
      <a:lvl5pPr marL="2057400" indent="-228600" algn="just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5pPr>
      <a:lvl6pPr marL="25146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6pPr>
      <a:lvl7pPr marL="29718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7pPr>
      <a:lvl8pPr marL="34290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8pPr>
      <a:lvl9pPr marL="3886200" indent="-228600" algn="just" rtl="0" fontAlgn="base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426" name="Line 2"/>
          <p:cNvSpPr>
            <a:spLocks noChangeShapeType="1"/>
          </p:cNvSpPr>
          <p:nvPr/>
        </p:nvSpPr>
        <p:spPr bwMode="ltGray">
          <a:xfrm>
            <a:off x="812800" y="549275"/>
            <a:ext cx="88931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1274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857256" y="233363"/>
            <a:ext cx="8785225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pic>
        <p:nvPicPr>
          <p:cNvPr id="1127429" name="Picture 5"/>
          <p:cNvPicPr>
            <a:picLocks noChangeAspect="1" noChangeArrowheads="1"/>
          </p:cNvPicPr>
          <p:nvPr/>
        </p:nvPicPr>
        <p:blipFill>
          <a:blip r:embed="rId5" cstate="print"/>
          <a:srcRect l="82291" r="4323" b="22244"/>
          <a:stretch>
            <a:fillRect/>
          </a:stretch>
        </p:blipFill>
        <p:spPr bwMode="auto">
          <a:xfrm>
            <a:off x="57156" y="0"/>
            <a:ext cx="600075" cy="620713"/>
          </a:xfrm>
          <a:prstGeom prst="rect">
            <a:avLst/>
          </a:prstGeom>
          <a:noFill/>
        </p:spPr>
      </p:pic>
      <p:sp>
        <p:nvSpPr>
          <p:cNvPr id="112743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28138" y="6562725"/>
            <a:ext cx="76517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80000"/>
              </a:lnSpc>
              <a:defRPr sz="1000"/>
            </a:lvl1pPr>
          </a:lstStyle>
          <a:p>
            <a:fld id="{94300674-9382-4FC8-9841-D18CF51D225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hu-HU" dirty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0/18 </a:t>
            </a:r>
            <a:r>
              <a:rPr lang="en-US" dirty="0" err="1" smtClean="0">
                <a:solidFill>
                  <a:srgbClr val="000000"/>
                </a:solidFill>
              </a:rPr>
              <a:t>pld</a:t>
            </a:r>
            <a:r>
              <a:rPr lang="en-US" dirty="0" smtClean="0">
                <a:solidFill>
                  <a:srgbClr val="000000"/>
                </a:solidFill>
              </a:rPr>
              <a:t>.</a:t>
            </a:r>
            <a:endParaRPr lang="en-US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97" r:id="rId1"/>
    <p:sldLayoutId id="2147485099" r:id="rId2"/>
    <p:sldLayoutId id="2147485100" r:id="rId3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itchFamily="34" charset="0"/>
        </a:defRPr>
      </a:lvl9pPr>
    </p:titleStyle>
    <p:bodyStyle>
      <a:lvl1pPr algn="l" rtl="0" fontAlgn="base">
        <a:spcBef>
          <a:spcPct val="100000"/>
        </a:spcBef>
        <a:spcAft>
          <a:spcPct val="0"/>
        </a:spcAft>
        <a:buClr>
          <a:schemeClr val="accent1"/>
        </a:buClr>
        <a:buSzPct val="75000"/>
        <a:buFont typeface="Wingdings" pitchFamily="2" charset="2"/>
        <a:defRPr sz="1600" i="1">
          <a:solidFill>
            <a:schemeClr val="tx1"/>
          </a:solidFill>
          <a:latin typeface="+mn-lt"/>
          <a:ea typeface="+mn-ea"/>
          <a:cs typeface="+mn-cs"/>
        </a:defRPr>
      </a:lvl1pPr>
      <a:lvl2pPr marL="238125" indent="-236538" algn="l" rtl="0" fontAlgn="base">
        <a:spcBef>
          <a:spcPct val="50000"/>
        </a:spcBef>
        <a:spcAft>
          <a:spcPct val="0"/>
        </a:spcAft>
        <a:buClr>
          <a:srgbClr val="E6D199"/>
        </a:buClr>
        <a:buSzPct val="90000"/>
        <a:buFont typeface="Wingdings" pitchFamily="2" charset="2"/>
        <a:buChar char="l"/>
        <a:defRPr sz="1400" b="1" i="1">
          <a:solidFill>
            <a:schemeClr val="tx1"/>
          </a:solidFill>
          <a:latin typeface="+mj-lt"/>
        </a:defRPr>
      </a:lvl2pPr>
      <a:lvl3pPr marL="474663" indent="-209550" algn="l" rtl="0" fontAlgn="base">
        <a:spcBef>
          <a:spcPct val="15000"/>
        </a:spcBef>
        <a:spcAft>
          <a:spcPct val="0"/>
        </a:spcAft>
        <a:buClr>
          <a:srgbClr val="008000"/>
        </a:buClr>
        <a:buSzPct val="90000"/>
        <a:buChar char="–"/>
        <a:defRPr sz="1200">
          <a:solidFill>
            <a:schemeClr val="tx1"/>
          </a:solidFill>
          <a:latin typeface="+mj-lt"/>
        </a:defRPr>
      </a:lvl3pPr>
      <a:lvl4pPr marL="884238" indent="-219075" algn="l" rtl="0" fontAlgn="base">
        <a:spcBef>
          <a:spcPct val="15000"/>
        </a:spcBef>
        <a:spcAft>
          <a:spcPct val="0"/>
        </a:spcAft>
        <a:buClr>
          <a:srgbClr val="008000"/>
        </a:buClr>
        <a:buSzPct val="90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4pPr>
      <a:lvl5pPr marL="13335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5pPr>
      <a:lvl6pPr marL="17907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6pPr>
      <a:lvl7pPr marL="22479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7pPr>
      <a:lvl8pPr marL="27051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8pPr>
      <a:lvl9pPr marL="3162300" indent="-258763" algn="l" rtl="0" fontAlgn="base">
        <a:spcBef>
          <a:spcPct val="1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1200">
          <a:solidFill>
            <a:schemeClr val="tx1"/>
          </a:solidFill>
          <a:latin typeface="+mj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2.xml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notesSlide" Target="../notesSlides/notesSlide1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8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1.xml"/><Relationship Id="rId10" Type="http://schemas.openxmlformats.org/officeDocument/2006/relationships/tags" Target="../tags/tag86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image" Target="../media/image16.emf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1.xml"/><Relationship Id="rId11" Type="http://schemas.openxmlformats.org/officeDocument/2006/relationships/notesSlide" Target="../notesSlides/notesSlide15.xml"/><Relationship Id="rId5" Type="http://schemas.openxmlformats.org/officeDocument/2006/relationships/tags" Target="../tags/tag9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7.png"/><Relationship Id="rId2" Type="http://schemas.openxmlformats.org/officeDocument/2006/relationships/tags" Target="../tags/tag95.xml"/><Relationship Id="rId1" Type="http://schemas.openxmlformats.org/officeDocument/2006/relationships/vmlDrawing" Target="../drawings/vmlDrawing19.vml"/><Relationship Id="rId6" Type="http://schemas.openxmlformats.org/officeDocument/2006/relationships/tags" Target="../tags/tag99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9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notesSlide" Target="../notesSlides/notesSlide18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1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notesSlide" Target="../notesSlides/notesSlide19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oleObject" Target="../embeddings/oleObject2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image" Target="../media/image19.emf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image" Target="../media/image21.emf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135.xml"/><Relationship Id="rId16" Type="http://schemas.openxmlformats.org/officeDocument/2006/relationships/image" Target="../media/image22.png"/><Relationship Id="rId1" Type="http://schemas.openxmlformats.org/officeDocument/2006/relationships/vmlDrawing" Target="../drawings/vmlDrawing25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notesSlide" Target="../notesSlides/notesSlide22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tags" Target="../tags/tag157.xml"/><Relationship Id="rId17" Type="http://schemas.openxmlformats.org/officeDocument/2006/relationships/image" Target="../media/image21.emf"/><Relationship Id="rId2" Type="http://schemas.openxmlformats.org/officeDocument/2006/relationships/tags" Target="../tags/tag147.xml"/><Relationship Id="rId16" Type="http://schemas.openxmlformats.org/officeDocument/2006/relationships/oleObject" Target="../embeddings/oleObject26.bin"/><Relationship Id="rId1" Type="http://schemas.openxmlformats.org/officeDocument/2006/relationships/vmlDrawing" Target="../drawings/vmlDrawing26.vml"/><Relationship Id="rId6" Type="http://schemas.openxmlformats.org/officeDocument/2006/relationships/tags" Target="../tags/tag151.xml"/><Relationship Id="rId11" Type="http://schemas.openxmlformats.org/officeDocument/2006/relationships/tags" Target="../tags/tag156.xml"/><Relationship Id="rId5" Type="http://schemas.openxmlformats.org/officeDocument/2006/relationships/tags" Target="../tags/tag150.xml"/><Relationship Id="rId15" Type="http://schemas.openxmlformats.org/officeDocument/2006/relationships/image" Target="../media/image24.png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tags" Target="../tags/tag182.xml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34" Type="http://schemas.openxmlformats.org/officeDocument/2006/relationships/image" Target="../media/image25.emf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tags" Target="../tags/tag181.xml"/><Relationship Id="rId33" Type="http://schemas.openxmlformats.org/officeDocument/2006/relationships/oleObject" Target="../embeddings/oleObject28.bin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29" Type="http://schemas.openxmlformats.org/officeDocument/2006/relationships/tags" Target="../tags/tag18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tags" Target="../tags/tag180.xml"/><Relationship Id="rId32" Type="http://schemas.openxmlformats.org/officeDocument/2006/relationships/oleObject" Target="../embeddings/oleObject27.bin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tags" Target="../tags/tag179.xml"/><Relationship Id="rId28" Type="http://schemas.openxmlformats.org/officeDocument/2006/relationships/tags" Target="../tags/tag184.xml"/><Relationship Id="rId36" Type="http://schemas.openxmlformats.org/officeDocument/2006/relationships/image" Target="../media/image26.emf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31" Type="http://schemas.openxmlformats.org/officeDocument/2006/relationships/notesSlide" Target="../notesSlides/notesSlide24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tags" Target="../tags/tag183.xml"/><Relationship Id="rId30" Type="http://schemas.openxmlformats.org/officeDocument/2006/relationships/slideLayout" Target="../slideLayouts/slideLayout2.xml"/><Relationship Id="rId35" Type="http://schemas.openxmlformats.org/officeDocument/2006/relationships/oleObject" Target="../embeddings/oleObject29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oleObject" Target="../embeddings/oleObject30.bin"/><Relationship Id="rId10" Type="http://schemas.openxmlformats.org/officeDocument/2006/relationships/tags" Target="../tags/tag194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oleObject" Target="../embeddings/oleObject31.bin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notesSlide" Target="../notesSlides/notesSlide26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0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00.xml"/><Relationship Id="rId10" Type="http://schemas.openxmlformats.org/officeDocument/2006/relationships/tags" Target="../tags/tag205.xml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image" Target="../media/image2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oleObject" Target="../embeddings/oleObject32.bin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notesSlide" Target="../notesSlides/notesSlide27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1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09.xml"/><Relationship Id="rId10" Type="http://schemas.openxmlformats.org/officeDocument/2006/relationships/tags" Target="../tags/tag214.xml"/><Relationship Id="rId4" Type="http://schemas.openxmlformats.org/officeDocument/2006/relationships/tags" Target="../tags/tag208.xml"/><Relationship Id="rId9" Type="http://schemas.openxmlformats.org/officeDocument/2006/relationships/tags" Target="../tags/tag213.xml"/><Relationship Id="rId14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19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18.xml"/><Relationship Id="rId10" Type="http://schemas.openxmlformats.org/officeDocument/2006/relationships/notesSlide" Target="../notesSlides/notesSlide28.xml"/><Relationship Id="rId4" Type="http://schemas.openxmlformats.org/officeDocument/2006/relationships/tags" Target="../tags/tag217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223.xml"/><Relationship Id="rId7" Type="http://schemas.openxmlformats.org/officeDocument/2006/relationships/oleObject" Target="../embeddings/oleObject34.bin"/><Relationship Id="rId2" Type="http://schemas.openxmlformats.org/officeDocument/2006/relationships/tags" Target="../tags/tag222.xml"/><Relationship Id="rId1" Type="http://schemas.openxmlformats.org/officeDocument/2006/relationships/vmlDrawing" Target="../drawings/vmlDrawing32.v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3.xml"/><Relationship Id="rId7" Type="http://schemas.openxmlformats.org/officeDocument/2006/relationships/oleObject" Target="../embeddings/oleObject9.bin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48.xml"/><Relationship Id="rId9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7494" y="2438891"/>
            <a:ext cx="9316035" cy="4140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0" cap="none" spc="0" normalizeH="0" baseline="0" noProof="0" dirty="0" smtClean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akro körkép: helyreállt</a:t>
            </a:r>
            <a:r>
              <a:rPr kumimoji="0" lang="hu-HU" sz="2800" b="1" i="0" u="none" strike="noStrike" kern="0" cap="none" spc="0" normalizeH="0" noProof="0" dirty="0" smtClean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hu-HU" sz="2800" b="1" i="0" u="none" strike="noStrike" kern="0" cap="none" spc="0" normalizeH="0" noProof="0" dirty="0" smtClean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gyensúly</a:t>
            </a:r>
            <a:r>
              <a:rPr kumimoji="0" lang="hu-HU" sz="2800" b="1" i="0" u="none" strike="noStrike" kern="0" cap="none" spc="0" normalizeH="0" noProof="0" dirty="0" smtClean="0">
                <a:ln>
                  <a:noFill/>
                </a:ln>
                <a:solidFill>
                  <a:srgbClr val="006A4E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 </a:t>
            </a:r>
            <a:r>
              <a:rPr lang="hu-HU" sz="2800" b="1" kern="0" dirty="0" smtClean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visszafogott növekedési kilátások; tartós dezinfláció</a:t>
            </a:r>
            <a:endParaRPr kumimoji="0" lang="hu-HU" sz="2800" b="1" i="0" u="none" strike="noStrike" kern="0" cap="none" spc="0" normalizeH="0" baseline="0" noProof="0" dirty="0" smtClean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2400" b="1" i="0" u="none" strike="noStrike" kern="0" cap="none" spc="0" normalizeH="0" noProof="0" dirty="0" smtClean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2400" b="1" i="0" u="none" strike="noStrike" kern="0" cap="none" spc="0" normalizeH="0" noProof="0" dirty="0" smtClean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hu-HU" sz="2400" b="1" kern="0" dirty="0" smtClean="0">
              <a:solidFill>
                <a:srgbClr val="006A4E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hu-HU" sz="2400" b="1" kern="0" dirty="0">
              <a:solidFill>
                <a:srgbClr val="006A4E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hu-HU" sz="2400" b="1" kern="0" dirty="0" smtClean="0">
              <a:solidFill>
                <a:srgbClr val="006A4E"/>
              </a:solidFill>
              <a:latin typeface="+mj-lt"/>
              <a:ea typeface="+mj-ea"/>
              <a:cs typeface="+mj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2400" b="1" kern="0" dirty="0" smtClean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2013 </a:t>
            </a:r>
            <a:r>
              <a:rPr lang="hu-HU" sz="2400" b="1" kern="0" dirty="0" smtClean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máju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hu-HU" sz="2400" b="1" kern="0" dirty="0" smtClean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Tardos Gergely</a:t>
            </a:r>
          </a:p>
          <a:p>
            <a:pPr eaLnBrk="0" hangingPunct="0">
              <a:defRPr/>
            </a:pPr>
            <a:r>
              <a:rPr lang="hu-HU" sz="2400" b="1" kern="0" dirty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OTP Bank Elemzési </a:t>
            </a:r>
            <a:r>
              <a:rPr lang="hu-HU" sz="2400" b="1" kern="0" dirty="0">
                <a:solidFill>
                  <a:srgbClr val="006A4E"/>
                </a:solidFill>
                <a:latin typeface="+mj-lt"/>
                <a:ea typeface="+mj-ea"/>
                <a:cs typeface="+mj-cs"/>
              </a:rPr>
              <a:t>Központ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2000" b="1" i="0" u="none" strike="noStrike" kern="0" cap="none" spc="0" normalizeH="0" baseline="0" noProof="0" dirty="0" smtClean="0">
              <a:ln>
                <a:noFill/>
              </a:ln>
              <a:solidFill>
                <a:srgbClr val="006A4E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0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9287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33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0" y="6440488"/>
            <a:ext cx="66421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000" b="0" i="1" dirty="0">
                <a:solidFill>
                  <a:schemeClr val="bg1"/>
                </a:solidFill>
              </a:rPr>
              <a:t>Forrás</a:t>
            </a:r>
            <a:r>
              <a:rPr lang="en-US" sz="1000" b="0" i="1" dirty="0">
                <a:solidFill>
                  <a:schemeClr val="bg1"/>
                </a:solidFill>
              </a:rPr>
              <a:t>: </a:t>
            </a:r>
            <a:r>
              <a:rPr lang="hu-HU" sz="1000" b="0" i="1" dirty="0" smtClean="0">
                <a:solidFill>
                  <a:schemeClr val="bg1"/>
                </a:solidFill>
              </a:rPr>
              <a:t>DataStream, </a:t>
            </a:r>
            <a:r>
              <a:rPr lang="en-US" sz="1000" b="0" i="1" dirty="0" smtClean="0">
                <a:solidFill>
                  <a:schemeClr val="bg1"/>
                </a:solidFill>
              </a:rPr>
              <a:t>OTP </a:t>
            </a:r>
            <a:r>
              <a:rPr lang="hu-HU" sz="1000" b="0" i="1" dirty="0">
                <a:solidFill>
                  <a:schemeClr val="bg1"/>
                </a:solidFill>
              </a:rPr>
              <a:t>Elemzés</a:t>
            </a:r>
            <a:endParaRPr lang="en-US" sz="1000" b="0" i="1" dirty="0">
              <a:solidFill>
                <a:schemeClr val="bg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257506" y="600943"/>
            <a:ext cx="613565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400" dirty="0" smtClean="0"/>
              <a:t>A </a:t>
            </a:r>
            <a:r>
              <a:rPr lang="hu-HU" sz="1400" dirty="0" smtClean="0"/>
              <a:t>EU gazdaságának és a régió exportjának növekedése </a:t>
            </a:r>
            <a:r>
              <a:rPr lang="en-US" sz="1400" b="0" dirty="0" smtClean="0"/>
              <a:t>(</a:t>
            </a:r>
            <a:r>
              <a:rPr lang="hu-HU" sz="1400" b="0" dirty="0" smtClean="0"/>
              <a:t>%; év/</a:t>
            </a:r>
            <a:r>
              <a:rPr lang="hu-HU" sz="1400" b="0" dirty="0" err="1" smtClean="0"/>
              <a:t>év</a:t>
            </a:r>
            <a:r>
              <a:rPr lang="hu-HU" sz="1400" b="0" dirty="0" smtClean="0"/>
              <a:t>)</a:t>
            </a:r>
            <a:endParaRPr lang="en-US" sz="1400" b="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9</a:t>
            </a:fld>
            <a:endParaRPr lang="hu-HU" dirty="0"/>
          </a:p>
        </p:txBody>
      </p:sp>
      <p:pic>
        <p:nvPicPr>
          <p:cNvPr id="620032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530" y="1098058"/>
            <a:ext cx="8170999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7535" y="80367"/>
            <a:ext cx="904845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u-HU" sz="2000" kern="0" dirty="0" smtClean="0"/>
              <a:t>Az exportkereslet erősen korrelál az Unió növekedésével</a:t>
            </a:r>
            <a:endParaRPr lang="en-US" sz="2000" kern="0" dirty="0" smtClean="0"/>
          </a:p>
        </p:txBody>
      </p:sp>
      <p:sp>
        <p:nvSpPr>
          <p:cNvPr id="2" name="Téglalap 1"/>
          <p:cNvSpPr/>
          <p:nvPr/>
        </p:nvSpPr>
        <p:spPr>
          <a:xfrm>
            <a:off x="1307595" y="1268760"/>
            <a:ext cx="3984167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6213140" y="1268760"/>
            <a:ext cx="945105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Téglalap 13"/>
          <p:cNvSpPr/>
          <p:nvPr/>
        </p:nvSpPr>
        <p:spPr>
          <a:xfrm>
            <a:off x="5295467" y="1268760"/>
            <a:ext cx="945105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Téglalap 14"/>
          <p:cNvSpPr/>
          <p:nvPr/>
        </p:nvSpPr>
        <p:spPr>
          <a:xfrm>
            <a:off x="7158245" y="1268760"/>
            <a:ext cx="1260140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1982670" y="1268760"/>
            <a:ext cx="2925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nvergencia</a:t>
            </a:r>
            <a:endParaRPr lang="hu-HU" sz="1400" dirty="0"/>
          </a:p>
        </p:txBody>
      </p:sp>
      <p:sp>
        <p:nvSpPr>
          <p:cNvPr id="17" name="Szövegdoboz 16"/>
          <p:cNvSpPr txBox="1"/>
          <p:nvPr/>
        </p:nvSpPr>
        <p:spPr>
          <a:xfrm>
            <a:off x="5290897" y="1268760"/>
            <a:ext cx="922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álság</a:t>
            </a:r>
            <a:endParaRPr lang="hu-HU" sz="1400" dirty="0"/>
          </a:p>
        </p:txBody>
      </p:sp>
      <p:sp>
        <p:nvSpPr>
          <p:cNvPr id="18" name="Szövegdoboz 17"/>
          <p:cNvSpPr txBox="1"/>
          <p:nvPr/>
        </p:nvSpPr>
        <p:spPr>
          <a:xfrm>
            <a:off x="6213141" y="1268760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rrekció</a:t>
            </a:r>
            <a:endParaRPr lang="hu-HU" sz="1400" dirty="0"/>
          </a:p>
        </p:txBody>
      </p:sp>
      <p:sp>
        <p:nvSpPr>
          <p:cNvPr id="19" name="Szövegdoboz 18"/>
          <p:cNvSpPr txBox="1"/>
          <p:nvPr/>
        </p:nvSpPr>
        <p:spPr>
          <a:xfrm>
            <a:off x="7310825" y="1268760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ergődés</a:t>
            </a:r>
            <a:endParaRPr lang="hu-HU" sz="1400" dirty="0"/>
          </a:p>
        </p:txBody>
      </p:sp>
    </p:spTree>
    <p:extLst>
      <p:ext uri="{BB962C8B-B14F-4D97-AF65-F5344CB8AC3E}">
        <p14:creationId xmlns:p14="http://schemas.microsoft.com/office/powerpoint/2010/main" val="173661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35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-87560" y="5981030"/>
            <a:ext cx="66421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000" b="0" i="1" dirty="0">
                <a:solidFill>
                  <a:schemeClr val="bg1"/>
                </a:solidFill>
              </a:rPr>
              <a:t>Forrás</a:t>
            </a:r>
            <a:r>
              <a:rPr lang="en-US" sz="1000" b="0" i="1" dirty="0">
                <a:solidFill>
                  <a:schemeClr val="bg1"/>
                </a:solidFill>
              </a:rPr>
              <a:t>: </a:t>
            </a:r>
            <a:r>
              <a:rPr lang="hu-HU" sz="1000" b="0" i="1" dirty="0" smtClean="0">
                <a:solidFill>
                  <a:schemeClr val="bg1"/>
                </a:solidFill>
              </a:rPr>
              <a:t>DataStream, </a:t>
            </a:r>
            <a:r>
              <a:rPr lang="en-US" sz="1000" b="0" i="1" dirty="0" smtClean="0">
                <a:solidFill>
                  <a:schemeClr val="bg1"/>
                </a:solidFill>
              </a:rPr>
              <a:t>OTP </a:t>
            </a:r>
            <a:r>
              <a:rPr lang="hu-HU" sz="1000" b="0" i="1" dirty="0">
                <a:solidFill>
                  <a:schemeClr val="bg1"/>
                </a:solidFill>
              </a:rPr>
              <a:t>Elemzés</a:t>
            </a:r>
            <a:endParaRPr lang="en-US" sz="1000" b="0" i="1" dirty="0">
              <a:solidFill>
                <a:schemeClr val="bg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257505" y="600943"/>
            <a:ext cx="879577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400" dirty="0" smtClean="0"/>
              <a:t>Gazdasági növekedés </a:t>
            </a:r>
            <a:r>
              <a:rPr lang="hu-HU" sz="1400" dirty="0" smtClean="0"/>
              <a:t>az EU-ban és nettó tőkebeáramlás Kelet-Európába</a:t>
            </a:r>
            <a:endParaRPr lang="en-US" sz="1400" b="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10</a:t>
            </a:fld>
            <a:endParaRPr lang="hu-HU" dirty="0"/>
          </a:p>
        </p:txBody>
      </p:sp>
      <p:pic>
        <p:nvPicPr>
          <p:cNvPr id="620134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24" y="908720"/>
            <a:ext cx="8170999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7535" y="80367"/>
            <a:ext cx="9048455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u-HU" sz="2000" kern="0" dirty="0" smtClean="0"/>
              <a:t>De a beruházásokat és a hitelezést finanszírozó tőkeáramlások is erősen érzékenyek az európai növekedésre </a:t>
            </a:r>
            <a:endParaRPr lang="en-US" sz="2000" kern="0" dirty="0" smtClean="0"/>
          </a:p>
        </p:txBody>
      </p:sp>
      <p:sp>
        <p:nvSpPr>
          <p:cNvPr id="11" name="Téglalap 10"/>
          <p:cNvSpPr/>
          <p:nvPr/>
        </p:nvSpPr>
        <p:spPr>
          <a:xfrm>
            <a:off x="1310045" y="1079332"/>
            <a:ext cx="3984167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/>
          <p:cNvSpPr/>
          <p:nvPr/>
        </p:nvSpPr>
        <p:spPr>
          <a:xfrm>
            <a:off x="6215590" y="1079332"/>
            <a:ext cx="945105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5297917" y="1079332"/>
            <a:ext cx="945105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Téglalap 13"/>
          <p:cNvSpPr/>
          <p:nvPr/>
        </p:nvSpPr>
        <p:spPr>
          <a:xfrm>
            <a:off x="7160695" y="1079332"/>
            <a:ext cx="1260140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Szövegdoboz 14"/>
          <p:cNvSpPr txBox="1"/>
          <p:nvPr/>
        </p:nvSpPr>
        <p:spPr>
          <a:xfrm>
            <a:off x="1985120" y="1079332"/>
            <a:ext cx="2925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nvergencia</a:t>
            </a:r>
            <a:endParaRPr lang="hu-HU" sz="1400" dirty="0"/>
          </a:p>
        </p:txBody>
      </p:sp>
      <p:sp>
        <p:nvSpPr>
          <p:cNvPr id="16" name="Szövegdoboz 15"/>
          <p:cNvSpPr txBox="1"/>
          <p:nvPr/>
        </p:nvSpPr>
        <p:spPr>
          <a:xfrm>
            <a:off x="5293347" y="1079332"/>
            <a:ext cx="922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álság</a:t>
            </a:r>
            <a:endParaRPr lang="hu-HU" sz="1400" dirty="0"/>
          </a:p>
        </p:txBody>
      </p:sp>
      <p:sp>
        <p:nvSpPr>
          <p:cNvPr id="17" name="Szövegdoboz 16"/>
          <p:cNvSpPr txBox="1"/>
          <p:nvPr/>
        </p:nvSpPr>
        <p:spPr>
          <a:xfrm>
            <a:off x="6215591" y="1079332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rrekció</a:t>
            </a:r>
            <a:endParaRPr lang="hu-HU" sz="1400" dirty="0"/>
          </a:p>
        </p:txBody>
      </p:sp>
      <p:sp>
        <p:nvSpPr>
          <p:cNvPr id="18" name="Szövegdoboz 17"/>
          <p:cNvSpPr txBox="1"/>
          <p:nvPr/>
        </p:nvSpPr>
        <p:spPr>
          <a:xfrm>
            <a:off x="7313275" y="1079332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ergődés</a:t>
            </a:r>
            <a:endParaRPr lang="hu-HU" sz="1400" dirty="0"/>
          </a:p>
        </p:txBody>
      </p:sp>
    </p:spTree>
    <p:extLst>
      <p:ext uri="{BB962C8B-B14F-4D97-AF65-F5344CB8AC3E}">
        <p14:creationId xmlns:p14="http://schemas.microsoft.com/office/powerpoint/2010/main" val="197504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643729" y="80367"/>
            <a:ext cx="9048455" cy="468313"/>
          </a:xfrm>
        </p:spPr>
        <p:txBody>
          <a:bodyPr/>
          <a:lstStyle/>
          <a:p>
            <a:r>
              <a:rPr lang="hu-HU" sz="2000" dirty="0" smtClean="0"/>
              <a:t>Mindez </a:t>
            </a:r>
            <a:r>
              <a:rPr lang="hu-HU" sz="2000" dirty="0" smtClean="0"/>
              <a:t>az európaival együttmozgó, de annál békeidőkben magasabb, de recessziókban akár alacsonyabb régiós növekedést eredményez</a:t>
            </a:r>
            <a:endParaRPr lang="en-US" sz="2000" dirty="0" smtClean="0"/>
          </a:p>
        </p:txBody>
      </p:sp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3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0" y="6440488"/>
            <a:ext cx="66421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000" b="0" i="1" dirty="0">
                <a:solidFill>
                  <a:schemeClr val="bg1"/>
                </a:solidFill>
              </a:rPr>
              <a:t>Forrás</a:t>
            </a:r>
            <a:r>
              <a:rPr lang="en-US" sz="1000" b="0" i="1" dirty="0">
                <a:solidFill>
                  <a:schemeClr val="bg1"/>
                </a:solidFill>
              </a:rPr>
              <a:t>: </a:t>
            </a:r>
            <a:r>
              <a:rPr lang="hu-HU" sz="1000" b="0" i="1" dirty="0" smtClean="0">
                <a:solidFill>
                  <a:schemeClr val="bg1"/>
                </a:solidFill>
              </a:rPr>
              <a:t>DataStream, </a:t>
            </a:r>
            <a:r>
              <a:rPr lang="en-US" sz="1000" b="0" i="1" dirty="0" smtClean="0">
                <a:solidFill>
                  <a:schemeClr val="bg1"/>
                </a:solidFill>
              </a:rPr>
              <a:t>OTP </a:t>
            </a:r>
            <a:r>
              <a:rPr lang="hu-HU" sz="1000" b="0" i="1" dirty="0">
                <a:solidFill>
                  <a:schemeClr val="bg1"/>
                </a:solidFill>
              </a:rPr>
              <a:t>Elemzés</a:t>
            </a:r>
            <a:endParaRPr lang="en-US" sz="1000" b="0" i="1" dirty="0">
              <a:solidFill>
                <a:schemeClr val="bg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257506" y="600943"/>
            <a:ext cx="471027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400" dirty="0" smtClean="0"/>
              <a:t>A GDP növekedés </a:t>
            </a:r>
            <a:r>
              <a:rPr lang="en-US" sz="1400" b="0" dirty="0" smtClean="0"/>
              <a:t>(</a:t>
            </a:r>
            <a:r>
              <a:rPr lang="hu-HU" sz="1400" b="0" dirty="0" smtClean="0"/>
              <a:t>%; év/</a:t>
            </a:r>
            <a:r>
              <a:rPr lang="hu-HU" sz="1400" b="0" dirty="0" err="1" smtClean="0"/>
              <a:t>év</a:t>
            </a:r>
            <a:r>
              <a:rPr lang="hu-HU" sz="1400" b="0" dirty="0" smtClean="0"/>
              <a:t>)</a:t>
            </a:r>
            <a:endParaRPr lang="en-US" sz="1400" b="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11</a:t>
            </a:fld>
            <a:endParaRPr lang="hu-HU" dirty="0"/>
          </a:p>
        </p:txBody>
      </p:sp>
      <p:pic>
        <p:nvPicPr>
          <p:cNvPr id="619929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40" y="1043735"/>
            <a:ext cx="8170995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églalap 10"/>
          <p:cNvSpPr/>
          <p:nvPr/>
        </p:nvSpPr>
        <p:spPr>
          <a:xfrm>
            <a:off x="1352600" y="1223755"/>
            <a:ext cx="3984167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Téglalap 11"/>
          <p:cNvSpPr/>
          <p:nvPr/>
        </p:nvSpPr>
        <p:spPr>
          <a:xfrm>
            <a:off x="6258145" y="1223755"/>
            <a:ext cx="945105" cy="4050450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5340472" y="1223755"/>
            <a:ext cx="945105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Téglalap 13"/>
          <p:cNvSpPr/>
          <p:nvPr/>
        </p:nvSpPr>
        <p:spPr>
          <a:xfrm>
            <a:off x="7203250" y="1223755"/>
            <a:ext cx="1260140" cy="405045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5" name="Szövegdoboz 14"/>
          <p:cNvSpPr txBox="1"/>
          <p:nvPr/>
        </p:nvSpPr>
        <p:spPr>
          <a:xfrm>
            <a:off x="2027675" y="1223755"/>
            <a:ext cx="2925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nvergencia</a:t>
            </a:r>
            <a:endParaRPr lang="hu-HU" sz="1400" dirty="0"/>
          </a:p>
        </p:txBody>
      </p:sp>
      <p:sp>
        <p:nvSpPr>
          <p:cNvPr id="17" name="Szövegdoboz 16"/>
          <p:cNvSpPr txBox="1"/>
          <p:nvPr/>
        </p:nvSpPr>
        <p:spPr>
          <a:xfrm>
            <a:off x="5335902" y="1223755"/>
            <a:ext cx="922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álság</a:t>
            </a:r>
            <a:endParaRPr lang="hu-HU" sz="1400" dirty="0"/>
          </a:p>
        </p:txBody>
      </p:sp>
      <p:sp>
        <p:nvSpPr>
          <p:cNvPr id="18" name="Szövegdoboz 17"/>
          <p:cNvSpPr txBox="1"/>
          <p:nvPr/>
        </p:nvSpPr>
        <p:spPr>
          <a:xfrm>
            <a:off x="6258146" y="1223755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Korrekció</a:t>
            </a:r>
            <a:endParaRPr lang="hu-HU" sz="1400" dirty="0"/>
          </a:p>
        </p:txBody>
      </p:sp>
      <p:sp>
        <p:nvSpPr>
          <p:cNvPr id="19" name="Szövegdoboz 18"/>
          <p:cNvSpPr txBox="1"/>
          <p:nvPr/>
        </p:nvSpPr>
        <p:spPr>
          <a:xfrm>
            <a:off x="7355830" y="1223755"/>
            <a:ext cx="954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400" dirty="0" smtClean="0"/>
              <a:t>Vergődés</a:t>
            </a:r>
            <a:endParaRPr lang="hu-HU" sz="1400" dirty="0"/>
          </a:p>
        </p:txBody>
      </p:sp>
    </p:spTree>
    <p:extLst>
      <p:ext uri="{BB962C8B-B14F-4D97-AF65-F5344CB8AC3E}">
        <p14:creationId xmlns:p14="http://schemas.microsoft.com/office/powerpoint/2010/main" val="135154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282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138465" y="6652052"/>
            <a:ext cx="765175" cy="287338"/>
          </a:xfrm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12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b="0" dirty="0"/>
          </a:p>
        </p:txBody>
      </p:sp>
      <p:sp>
        <p:nvSpPr>
          <p:cNvPr id="19" name="Lekerekített téglalap 18"/>
          <p:cNvSpPr/>
          <p:nvPr>
            <p:custDataLst>
              <p:tags r:id="rId7"/>
            </p:custDataLst>
          </p:nvPr>
        </p:nvSpPr>
        <p:spPr bwMode="auto">
          <a:xfrm>
            <a:off x="2228320" y="459913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2013-ban elérheti a gazdasági növekedés az 1%-ot,de a középtávú kilátások nem rózsásak</a:t>
            </a:r>
          </a:p>
        </p:txBody>
      </p:sp>
      <p:sp>
        <p:nvSpPr>
          <p:cNvPr id="12" name="Lekerekített téglalap 11"/>
          <p:cNvSpPr/>
          <p:nvPr>
            <p:custDataLst>
              <p:tags r:id="rId8"/>
            </p:custDataLst>
          </p:nvPr>
        </p:nvSpPr>
        <p:spPr bwMode="auto">
          <a:xfrm>
            <a:off x="452500" y="2888940"/>
            <a:ext cx="900100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Magyarország</a:t>
            </a:r>
            <a:endParaRPr lang="en-US" sz="1800" b="1" dirty="0"/>
          </a:p>
        </p:txBody>
      </p:sp>
      <p:sp>
        <p:nvSpPr>
          <p:cNvPr id="15" name="Lekerekített téglalap 14"/>
          <p:cNvSpPr/>
          <p:nvPr>
            <p:custDataLst>
              <p:tags r:id="rId9"/>
            </p:custDataLst>
          </p:nvPr>
        </p:nvSpPr>
        <p:spPr bwMode="auto">
          <a:xfrm>
            <a:off x="2228320" y="3744035"/>
            <a:ext cx="722518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Az egyensúly helyreállt, a belső kockázatok jelentősen csökkentek. </a:t>
            </a:r>
          </a:p>
        </p:txBody>
      </p:sp>
      <p:sp>
        <p:nvSpPr>
          <p:cNvPr id="17" name="Lekerekített téglalap 16"/>
          <p:cNvSpPr/>
          <p:nvPr>
            <p:custDataLst>
              <p:tags r:id="rId10"/>
            </p:custDataLst>
          </p:nvPr>
        </p:nvSpPr>
        <p:spPr bwMode="auto">
          <a:xfrm>
            <a:off x="2228320" y="5454225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Tartós maradhat az alacsony hozamkörnyezet. A megszokott hozamok eléréséhez nagyobb kockázatot kell vállalni</a:t>
            </a:r>
          </a:p>
        </p:txBody>
      </p:sp>
      <p:sp>
        <p:nvSpPr>
          <p:cNvPr id="18" name="Lekerekített téglalap 17"/>
          <p:cNvSpPr/>
          <p:nvPr>
            <p:custDataLst>
              <p:tags r:id="rId11"/>
            </p:custDataLst>
          </p:nvPr>
        </p:nvSpPr>
        <p:spPr bwMode="auto">
          <a:xfrm>
            <a:off x="473125" y="99873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</a:t>
            </a:r>
            <a:r>
              <a:rPr lang="hu-HU" sz="1800" b="1" dirty="0"/>
              <a:t>környezet: költségvetési szigor, óriási pénzbőség, vergődés Európában</a:t>
            </a:r>
            <a:endParaRPr lang="en-US" sz="1800" b="1" dirty="0"/>
          </a:p>
        </p:txBody>
      </p:sp>
      <p:sp>
        <p:nvSpPr>
          <p:cNvPr id="14" name="Lekerekített téglalap 13"/>
          <p:cNvSpPr/>
          <p:nvPr>
            <p:custDataLst>
              <p:tags r:id="rId12"/>
            </p:custDataLst>
          </p:nvPr>
        </p:nvSpPr>
        <p:spPr bwMode="auto">
          <a:xfrm>
            <a:off x="473125" y="1943835"/>
            <a:ext cx="8990725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A régió növekedési motorjai: visszafogott KKE növekedést vetítenek előre a nem túl kedvező európai növekedési kilátások </a:t>
            </a:r>
            <a:endParaRPr lang="hu-HU" sz="1800" b="1" dirty="0"/>
          </a:p>
        </p:txBody>
      </p:sp>
    </p:spTree>
    <p:extLst>
      <p:ext uri="{BB962C8B-B14F-4D97-AF65-F5344CB8AC3E}">
        <p14:creationId xmlns:p14="http://schemas.microsoft.com/office/powerpoint/2010/main" val="4283497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37465" y="683695"/>
            <a:ext cx="9541059" cy="5618284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37565" y="818710"/>
            <a:ext cx="8100899" cy="53555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16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13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812540" y="115888"/>
            <a:ext cx="8145905" cy="468312"/>
          </a:xfrm>
        </p:spPr>
        <p:txBody>
          <a:bodyPr/>
          <a:lstStyle/>
          <a:p>
            <a:pPr eaLnBrk="1" hangingPunct="1"/>
            <a:r>
              <a:rPr lang="hu-HU" sz="1800" dirty="0" smtClean="0"/>
              <a:t>A 2012-es hiánycél teljesült a számos, a </a:t>
            </a:r>
            <a:r>
              <a:rPr lang="hu-HU" sz="1800" dirty="0" smtClean="0">
                <a:solidFill>
                  <a:srgbClr val="FF0000"/>
                </a:solidFill>
              </a:rPr>
              <a:t>GDP 6%-át </a:t>
            </a:r>
            <a:r>
              <a:rPr lang="hu-HU" sz="1800" dirty="0" smtClean="0"/>
              <a:t>elérő kiigazítás miatt. Előretekintve is 3% körüli hiány várható </a:t>
            </a:r>
            <a:endParaRPr lang="en-US" sz="18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6378060"/>
            <a:ext cx="7425654" cy="4799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 </a:t>
            </a:r>
            <a:r>
              <a:rPr lang="hu-HU" sz="900" dirty="0" smtClean="0">
                <a:solidFill>
                  <a:srgbClr val="FFFFFF"/>
                </a:solidFill>
              </a:rPr>
              <a:t>NGM,</a:t>
            </a:r>
            <a:r>
              <a:rPr lang="en-US" sz="900" dirty="0" smtClean="0">
                <a:solidFill>
                  <a:srgbClr val="FFFFFF"/>
                </a:solidFill>
              </a:rPr>
              <a:t> OTP </a:t>
            </a:r>
            <a:r>
              <a:rPr lang="hu-HU" sz="900" dirty="0" smtClean="0">
                <a:solidFill>
                  <a:srgbClr val="FFFFFF"/>
                </a:solidFill>
              </a:rPr>
              <a:t>Elemzés</a:t>
            </a: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37565" y="818710"/>
            <a:ext cx="814590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Államháztartási hiány </a:t>
            </a:r>
            <a:r>
              <a:rPr lang="en-GB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>
                <a:solidFill>
                  <a:srgbClr val="000000"/>
                </a:solidFill>
              </a:rPr>
              <a:t>tény és előrejelzések, a </a:t>
            </a:r>
            <a:r>
              <a:rPr lang="hu-HU" sz="1600" dirty="0" smtClean="0">
                <a:solidFill>
                  <a:srgbClr val="000000"/>
                </a:solidFill>
              </a:rPr>
              <a:t>GDP </a:t>
            </a:r>
            <a:r>
              <a:rPr lang="en-GB" sz="1600" dirty="0" smtClean="0">
                <a:solidFill>
                  <a:srgbClr val="000000"/>
                </a:solidFill>
              </a:rPr>
              <a:t>%</a:t>
            </a:r>
            <a:r>
              <a:rPr lang="hu-HU" sz="1600" dirty="0" err="1" smtClean="0">
                <a:solidFill>
                  <a:srgbClr val="000000"/>
                </a:solidFill>
              </a:rPr>
              <a:t>-ban</a:t>
            </a:r>
            <a:r>
              <a:rPr lang="en-GB" sz="1600" dirty="0" smtClean="0">
                <a:solidFill>
                  <a:srgbClr val="000000"/>
                </a:solidFill>
              </a:rPr>
              <a:t>)</a:t>
            </a:r>
            <a:endParaRPr lang="en-GB" sz="1600" dirty="0">
              <a:solidFill>
                <a:srgbClr val="000000"/>
              </a:solidFill>
            </a:endParaRPr>
          </a:p>
        </p:txBody>
      </p:sp>
      <p:pic>
        <p:nvPicPr>
          <p:cNvPr id="6147154" name="Picture 8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181" y="1134305"/>
            <a:ext cx="7737259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églalap 12"/>
          <p:cNvSpPr/>
          <p:nvPr/>
        </p:nvSpPr>
        <p:spPr>
          <a:xfrm>
            <a:off x="1724216" y="1397113"/>
            <a:ext cx="2520280" cy="4095455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14" name="Téglalap 13"/>
          <p:cNvSpPr/>
          <p:nvPr/>
        </p:nvSpPr>
        <p:spPr>
          <a:xfrm>
            <a:off x="4245001" y="1384413"/>
            <a:ext cx="2688220" cy="4114815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0142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37465" y="638690"/>
            <a:ext cx="9541059" cy="5618284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endParaRPr lang="en-GB" sz="1600" dirty="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18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14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767534" y="115888"/>
            <a:ext cx="8910989" cy="468312"/>
          </a:xfrm>
        </p:spPr>
        <p:txBody>
          <a:bodyPr/>
          <a:lstStyle/>
          <a:p>
            <a:pPr eaLnBrk="1" hangingPunct="1"/>
            <a:r>
              <a:rPr lang="hu-HU" sz="1800" dirty="0" smtClean="0"/>
              <a:t>Az államadósság emelkedése véget ért. Előretekintve az alacsony hiány ellenére is csak mérsékelt csökkenés várható a lassú gazdasági növekedés miatt</a:t>
            </a:r>
            <a:endParaRPr lang="en-US" sz="18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378060"/>
            <a:ext cx="7425654" cy="4799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 </a:t>
            </a:r>
            <a:r>
              <a:rPr lang="hu-HU" sz="900" dirty="0" smtClean="0">
                <a:solidFill>
                  <a:srgbClr val="FFFFFF"/>
                </a:solidFill>
              </a:rPr>
              <a:t>NGM,</a:t>
            </a:r>
            <a:r>
              <a:rPr lang="en-US" sz="900" dirty="0" smtClean="0">
                <a:solidFill>
                  <a:srgbClr val="FFFFFF"/>
                </a:solidFill>
              </a:rPr>
              <a:t> OTP </a:t>
            </a:r>
            <a:r>
              <a:rPr lang="hu-HU" sz="900" dirty="0" smtClean="0">
                <a:solidFill>
                  <a:srgbClr val="FFFFFF"/>
                </a:solidFill>
              </a:rPr>
              <a:t>Elemzés</a:t>
            </a: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37565" y="773705"/>
            <a:ext cx="8100899" cy="531003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037565" y="773705"/>
            <a:ext cx="814590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Az államháztartás adóssága </a:t>
            </a:r>
            <a:r>
              <a:rPr lang="en-GB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000000"/>
                </a:solidFill>
              </a:rPr>
              <a:t>tény és előrejelzések, a GDP </a:t>
            </a:r>
            <a:r>
              <a:rPr lang="en-GB" sz="1600" dirty="0" smtClean="0">
                <a:solidFill>
                  <a:srgbClr val="000000"/>
                </a:solidFill>
              </a:rPr>
              <a:t>%</a:t>
            </a:r>
            <a:r>
              <a:rPr lang="hu-HU" sz="1600" dirty="0" err="1" smtClean="0">
                <a:solidFill>
                  <a:srgbClr val="000000"/>
                </a:solidFill>
              </a:rPr>
              <a:t>-ban</a:t>
            </a:r>
            <a:r>
              <a:rPr lang="en-GB" sz="1600" dirty="0" smtClean="0">
                <a:solidFill>
                  <a:srgbClr val="000000"/>
                </a:solidFill>
              </a:rPr>
              <a:t>)</a:t>
            </a:r>
            <a:endParaRPr lang="en-GB" sz="1600" dirty="0">
              <a:solidFill>
                <a:srgbClr val="000000"/>
              </a:solidFill>
            </a:endParaRPr>
          </a:p>
        </p:txBody>
      </p:sp>
      <p:pic>
        <p:nvPicPr>
          <p:cNvPr id="6148178" name="Picture 8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580" y="1088740"/>
            <a:ext cx="7737259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églalap 12"/>
          <p:cNvSpPr/>
          <p:nvPr/>
        </p:nvSpPr>
        <p:spPr>
          <a:xfrm>
            <a:off x="1739770" y="1268760"/>
            <a:ext cx="4248345" cy="4219125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Lazít</a:t>
            </a:r>
            <a:endParaRPr lang="hu-HU" dirty="0"/>
          </a:p>
        </p:txBody>
      </p:sp>
      <p:sp>
        <p:nvSpPr>
          <p:cNvPr id="14" name="Téglalap 13"/>
          <p:cNvSpPr/>
          <p:nvPr/>
        </p:nvSpPr>
        <p:spPr>
          <a:xfrm>
            <a:off x="5988115" y="1268760"/>
            <a:ext cx="2115235" cy="4217367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436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209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15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6"/>
            </p:custDataLst>
          </p:nvPr>
        </p:nvSpPr>
        <p:spPr>
          <a:xfrm>
            <a:off x="812540" y="115888"/>
            <a:ext cx="8910898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2013 Külső egyensúly I: Korábban nem látott szintre emelkedett a külső egyensúly többlete</a:t>
            </a:r>
            <a:endParaRPr lang="en-US" sz="20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378060"/>
            <a:ext cx="7425654" cy="4799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</a:t>
            </a: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2490" y="773705"/>
            <a:ext cx="8820980" cy="51755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 dirty="0">
                <a:solidFill>
                  <a:srgbClr val="000000"/>
                </a:solidFill>
              </a:rPr>
              <a:t> </a:t>
            </a:r>
          </a:p>
          <a:p>
            <a:endParaRPr lang="en-GB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47755" y="773705"/>
            <a:ext cx="333037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Külső egyensúly </a:t>
            </a:r>
            <a:r>
              <a:rPr lang="en-GB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000000"/>
                </a:solidFill>
              </a:rPr>
              <a:t>a GDP </a:t>
            </a:r>
            <a:r>
              <a:rPr lang="en-GB" sz="1600" dirty="0" smtClean="0">
                <a:solidFill>
                  <a:srgbClr val="000000"/>
                </a:solidFill>
              </a:rPr>
              <a:t>%</a:t>
            </a:r>
            <a:r>
              <a:rPr lang="hu-HU" sz="1600" dirty="0" err="1" smtClean="0">
                <a:solidFill>
                  <a:srgbClr val="000000"/>
                </a:solidFill>
              </a:rPr>
              <a:t>-ban</a:t>
            </a:r>
            <a:r>
              <a:rPr lang="en-GB" sz="1600" dirty="0" smtClean="0">
                <a:solidFill>
                  <a:srgbClr val="000000"/>
                </a:solidFill>
              </a:rPr>
              <a:t>)</a:t>
            </a:r>
            <a:endParaRPr lang="en-GB" sz="1600" dirty="0">
              <a:solidFill>
                <a:srgbClr val="000000"/>
              </a:solidFill>
            </a:endParaRPr>
          </a:p>
        </p:txBody>
      </p:sp>
      <p:pic>
        <p:nvPicPr>
          <p:cNvPr id="7026695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1108902"/>
            <a:ext cx="9197975" cy="5605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433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2490" y="773705"/>
            <a:ext cx="8820980" cy="51755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pic>
        <p:nvPicPr>
          <p:cNvPr id="7029769" name="Picture 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99" y="908720"/>
            <a:ext cx="8595955" cy="50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95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16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767534" y="115888"/>
            <a:ext cx="8955903" cy="468312"/>
          </a:xfrm>
        </p:spPr>
        <p:txBody>
          <a:bodyPr/>
          <a:lstStyle/>
          <a:p>
            <a:pPr eaLnBrk="1" hangingPunct="1"/>
            <a:r>
              <a:rPr lang="hu-HU" sz="2000" dirty="0"/>
              <a:t>2013 Külső egyensúly </a:t>
            </a:r>
            <a:r>
              <a:rPr lang="hu-HU" sz="2000" dirty="0" smtClean="0"/>
              <a:t>II: </a:t>
            </a:r>
            <a:r>
              <a:rPr lang="hu-HU" sz="2000" dirty="0"/>
              <a:t>Végre gyorsan csökken </a:t>
            </a:r>
            <a:r>
              <a:rPr lang="hu-HU" sz="2000" dirty="0" smtClean="0"/>
              <a:t>a külső adósság és ezzel a sebezhetőség</a:t>
            </a:r>
            <a:endParaRPr lang="en-US" sz="20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378060"/>
            <a:ext cx="7425654" cy="382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</a:t>
            </a: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622630" y="773705"/>
            <a:ext cx="66157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Bruttó és nettó külső adósság 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000000"/>
                </a:solidFill>
              </a:rPr>
              <a:t>a GDP %-ban)</a:t>
            </a:r>
          </a:p>
        </p:txBody>
      </p:sp>
    </p:spTree>
    <p:extLst>
      <p:ext uri="{BB962C8B-B14F-4D97-AF65-F5344CB8AC3E}">
        <p14:creationId xmlns:p14="http://schemas.microsoft.com/office/powerpoint/2010/main" val="3694702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98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138465" y="6652052"/>
            <a:ext cx="765175" cy="287338"/>
          </a:xfrm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17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b="0" dirty="0"/>
          </a:p>
        </p:txBody>
      </p:sp>
      <p:sp>
        <p:nvSpPr>
          <p:cNvPr id="19" name="Lekerekített téglalap 18"/>
          <p:cNvSpPr/>
          <p:nvPr>
            <p:custDataLst>
              <p:tags r:id="rId7"/>
            </p:custDataLst>
          </p:nvPr>
        </p:nvSpPr>
        <p:spPr bwMode="auto">
          <a:xfrm>
            <a:off x="2387715" y="4089074"/>
            <a:ext cx="722518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2013-ban elérheti a gazdasági növekedés az 1%-</a:t>
            </a:r>
            <a:r>
              <a:rPr lang="hu-HU" sz="1800" b="1" dirty="0" smtClean="0"/>
              <a:t>ot. </a:t>
            </a:r>
          </a:p>
          <a:p>
            <a:r>
              <a:rPr lang="hu-HU" sz="1800" b="1" dirty="0" smtClean="0"/>
              <a:t>A </a:t>
            </a:r>
            <a:r>
              <a:rPr lang="hu-HU" sz="1800" b="1" dirty="0" smtClean="0"/>
              <a:t>középtávú </a:t>
            </a:r>
            <a:r>
              <a:rPr lang="hu-HU" sz="1800" b="1" dirty="0"/>
              <a:t>kilátások </a:t>
            </a:r>
            <a:r>
              <a:rPr lang="hu-HU" sz="1800" b="1" dirty="0" smtClean="0"/>
              <a:t>azonban nem </a:t>
            </a:r>
            <a:r>
              <a:rPr lang="hu-HU" sz="1800" b="1" dirty="0"/>
              <a:t>rózsásak</a:t>
            </a:r>
          </a:p>
        </p:txBody>
      </p:sp>
      <p:sp>
        <p:nvSpPr>
          <p:cNvPr id="12" name="Lekerekített téglalap 11"/>
          <p:cNvSpPr/>
          <p:nvPr>
            <p:custDataLst>
              <p:tags r:id="rId8"/>
            </p:custDataLst>
          </p:nvPr>
        </p:nvSpPr>
        <p:spPr bwMode="auto">
          <a:xfrm>
            <a:off x="611895" y="2303875"/>
            <a:ext cx="900100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Magyarország</a:t>
            </a:r>
            <a:endParaRPr lang="en-US" sz="1800" b="1" dirty="0"/>
          </a:p>
        </p:txBody>
      </p:sp>
      <p:sp>
        <p:nvSpPr>
          <p:cNvPr id="14" name="Lekerekített téglalap 13"/>
          <p:cNvSpPr/>
          <p:nvPr>
            <p:custDataLst>
              <p:tags r:id="rId9"/>
            </p:custDataLst>
          </p:nvPr>
        </p:nvSpPr>
        <p:spPr bwMode="auto">
          <a:xfrm>
            <a:off x="611895" y="683695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környezet madártávlatból: sok megoldatlan probléma, óriási pénzbőség</a:t>
            </a:r>
          </a:p>
        </p:txBody>
      </p:sp>
      <p:sp>
        <p:nvSpPr>
          <p:cNvPr id="15" name="Lekerekített téglalap 14"/>
          <p:cNvSpPr/>
          <p:nvPr>
            <p:custDataLst>
              <p:tags r:id="rId10"/>
            </p:custDataLst>
          </p:nvPr>
        </p:nvSpPr>
        <p:spPr bwMode="auto">
          <a:xfrm>
            <a:off x="2387715" y="315897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/>
              <a:t>Az egyensúly helyreállt, a belső kockázatok jelentősen csökkentek. </a:t>
            </a:r>
            <a:endParaRPr lang="hu-HU" sz="1800" b="1" dirty="0" smtClean="0">
              <a:latin typeface="Arial" charset="0"/>
            </a:endParaRPr>
          </a:p>
        </p:txBody>
      </p:sp>
      <p:sp>
        <p:nvSpPr>
          <p:cNvPr id="16" name="Lekerekített téglalap 15"/>
          <p:cNvSpPr/>
          <p:nvPr>
            <p:custDataLst>
              <p:tags r:id="rId11"/>
            </p:custDataLst>
          </p:nvPr>
        </p:nvSpPr>
        <p:spPr bwMode="auto">
          <a:xfrm>
            <a:off x="611895" y="147405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környezet: </a:t>
            </a:r>
            <a:r>
              <a:rPr lang="hu-HU" sz="1800" b="1" dirty="0" smtClean="0"/>
              <a:t>új részvénypiaci csúcsok, az </a:t>
            </a:r>
            <a:r>
              <a:rPr lang="hu-HU" sz="1800" b="1" dirty="0"/>
              <a:t>elmúlt </a:t>
            </a:r>
            <a:r>
              <a:rPr lang="hu-HU" sz="1800" b="1" dirty="0" smtClean="0"/>
              <a:t>negyedévben tovább romlottak a növekedési kilátások Európában </a:t>
            </a:r>
            <a:endParaRPr lang="hu-HU" sz="1800" b="1" dirty="0"/>
          </a:p>
        </p:txBody>
      </p:sp>
      <p:sp>
        <p:nvSpPr>
          <p:cNvPr id="17" name="Lekerekített téglalap 16"/>
          <p:cNvSpPr/>
          <p:nvPr>
            <p:custDataLst>
              <p:tags r:id="rId12"/>
            </p:custDataLst>
          </p:nvPr>
        </p:nvSpPr>
        <p:spPr bwMode="auto">
          <a:xfrm>
            <a:off x="2387715" y="504918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Tartós maradhat az alacsony hozamkörnyezet. A megszokott hozamok eléréséhez nagyobb kockázatot kell vállalni</a:t>
            </a:r>
          </a:p>
        </p:txBody>
      </p:sp>
    </p:spTree>
    <p:extLst>
      <p:ext uri="{BB962C8B-B14F-4D97-AF65-F5344CB8AC3E}">
        <p14:creationId xmlns:p14="http://schemas.microsoft.com/office/powerpoint/2010/main" val="1950854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93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18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6"/>
            </p:custDataLst>
          </p:nvPr>
        </p:nvSpPr>
        <p:spPr>
          <a:xfrm>
            <a:off x="767536" y="115888"/>
            <a:ext cx="8955902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2013: Növekedés: az </a:t>
            </a:r>
            <a:r>
              <a:rPr lang="hu-HU" sz="2000" dirty="0"/>
              <a:t>OTP 1%-os </a:t>
            </a:r>
            <a:r>
              <a:rPr lang="hu-HU" sz="2000" dirty="0" smtClean="0"/>
              <a:t>növekedést vár a tavalyi 1,7%-os recesszió után, </a:t>
            </a:r>
            <a:r>
              <a:rPr lang="hu-HU" sz="2000" dirty="0"/>
              <a:t>sajnos zömében </a:t>
            </a:r>
            <a:r>
              <a:rPr lang="hu-HU" sz="1800" dirty="0"/>
              <a:t>egyszeri</a:t>
            </a:r>
            <a:r>
              <a:rPr lang="hu-HU" sz="2000" dirty="0"/>
              <a:t> tényezők </a:t>
            </a:r>
            <a:r>
              <a:rPr lang="hu-HU" sz="2000" dirty="0" smtClean="0"/>
              <a:t>miatt </a:t>
            </a:r>
            <a:endParaRPr lang="en-US" sz="20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425" y="6398218"/>
            <a:ext cx="7425654" cy="382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KSH</a:t>
            </a: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455" y="773705"/>
            <a:ext cx="7605845" cy="54456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7465" y="773705"/>
            <a:ext cx="61206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800" b="1" dirty="0" smtClean="0">
                <a:solidFill>
                  <a:srgbClr val="000000"/>
                </a:solidFill>
              </a:rPr>
              <a:t>GDP</a:t>
            </a:r>
            <a:r>
              <a:rPr lang="hu-HU" sz="1800" b="1" dirty="0" smtClean="0">
                <a:solidFill>
                  <a:srgbClr val="000000"/>
                </a:solidFill>
              </a:rPr>
              <a:t> </a:t>
            </a:r>
            <a:r>
              <a:rPr lang="en-GB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2A7E54"/>
                </a:solidFill>
              </a:rPr>
              <a:t>Éves </a:t>
            </a:r>
            <a:r>
              <a:rPr lang="hu-HU" sz="1600" dirty="0" smtClean="0">
                <a:solidFill>
                  <a:srgbClr val="000000"/>
                </a:solidFill>
              </a:rPr>
              <a:t>és </a:t>
            </a:r>
            <a:r>
              <a:rPr lang="hu-HU" sz="1600" dirty="0" smtClean="0">
                <a:solidFill>
                  <a:srgbClr val="FF0000"/>
                </a:solidFill>
              </a:rPr>
              <a:t>évesített</a:t>
            </a:r>
            <a:r>
              <a:rPr lang="hu-HU" sz="1600" dirty="0" smtClean="0">
                <a:solidFill>
                  <a:srgbClr val="000000"/>
                </a:solidFill>
              </a:rPr>
              <a:t> negyedéves változás</a:t>
            </a:r>
            <a:r>
              <a:rPr lang="en-GB" sz="1600" dirty="0" smtClean="0">
                <a:solidFill>
                  <a:srgbClr val="000000"/>
                </a:solidFill>
              </a:rPr>
              <a:t>, %)</a:t>
            </a: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14" name="AutoShape 5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750749" y="773704"/>
            <a:ext cx="3062791" cy="5445605"/>
          </a:xfrm>
          <a:prstGeom prst="rect">
            <a:avLst/>
          </a:prstGeom>
          <a:solidFill>
            <a:srgbClr val="DFF5C0"/>
          </a:solidFill>
          <a:ln w="9525">
            <a:solidFill>
              <a:schemeClr val="accent3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folHlink"/>
            </a:outerShdw>
          </a:effectLst>
        </p:spPr>
        <p:txBody>
          <a:bodyPr/>
          <a:lstStyle/>
          <a:p>
            <a:pPr algn="just" defTabSz="266700">
              <a:defRPr/>
            </a:pPr>
            <a:r>
              <a:rPr lang="hu-HU" sz="1600" b="1" dirty="0" smtClean="0">
                <a:solidFill>
                  <a:srgbClr val="2A7E54"/>
                </a:solidFill>
              </a:rPr>
              <a:t>A 2012-es visszaesés okai: </a:t>
            </a:r>
          </a:p>
          <a:p>
            <a:pPr marL="342900" indent="-342900" algn="just" defTabSz="266700">
              <a:buFont typeface="+mj-lt"/>
              <a:buAutoNum type="arabicPeriod"/>
              <a:defRPr/>
            </a:pPr>
            <a:r>
              <a:rPr lang="hu-HU" sz="1400" b="1" dirty="0" smtClean="0">
                <a:solidFill>
                  <a:srgbClr val="2A7E54"/>
                </a:solidFill>
              </a:rPr>
              <a:t>Nem egyszeri tényezők:</a:t>
            </a:r>
          </a:p>
          <a:p>
            <a:pPr marL="285750" indent="-285750" algn="just" defTabSz="266700">
              <a:buFont typeface="Arial" pitchFamily="34" charset="0"/>
              <a:buChar char="•"/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Európai adósságválság, lassuló export </a:t>
            </a:r>
            <a:r>
              <a:rPr lang="en-US" sz="1400" dirty="0" smtClean="0">
                <a:solidFill>
                  <a:srgbClr val="000000"/>
                </a:solidFill>
              </a:rPr>
              <a:t>8</a:t>
            </a:r>
            <a:r>
              <a:rPr lang="hu-HU" sz="1400" dirty="0" smtClean="0">
                <a:solidFill>
                  <a:srgbClr val="000000"/>
                </a:solidFill>
              </a:rPr>
              <a:t>%-ról 2%-ra</a:t>
            </a:r>
          </a:p>
          <a:p>
            <a:pPr marL="285750" indent="-285750" algn="just" defTabSz="266700">
              <a:buFont typeface="Arial" pitchFamily="34" charset="0"/>
              <a:buChar char="•"/>
              <a:defRPr/>
            </a:pPr>
            <a:r>
              <a:rPr lang="hu-HU" sz="1400" b="1" i="1" dirty="0" smtClean="0">
                <a:solidFill>
                  <a:srgbClr val="000000"/>
                </a:solidFill>
              </a:rPr>
              <a:t>Költségvetési kiigazítás, </a:t>
            </a:r>
            <a:r>
              <a:rPr lang="hu-HU" sz="1400" dirty="0" smtClean="0">
                <a:solidFill>
                  <a:srgbClr val="000000"/>
                </a:solidFill>
              </a:rPr>
              <a:t>a GDP 6%-a!!!</a:t>
            </a:r>
          </a:p>
          <a:p>
            <a:pPr marL="285750" indent="-285750" algn="just" defTabSz="266700">
              <a:buFont typeface="Arial" pitchFamily="34" charset="0"/>
              <a:buChar char="•"/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Alacsony beruházás és hitelezés</a:t>
            </a:r>
          </a:p>
          <a:p>
            <a:pPr algn="just" defTabSz="266700">
              <a:defRPr/>
            </a:pPr>
            <a:endParaRPr lang="hu-HU" sz="400" b="1" dirty="0" smtClean="0">
              <a:solidFill>
                <a:srgbClr val="000000"/>
              </a:solidFill>
            </a:endParaRPr>
          </a:p>
          <a:p>
            <a:pPr marL="342900" indent="-342900" algn="just" defTabSz="266700">
              <a:buFont typeface="+mj-lt"/>
              <a:buAutoNum type="arabicPeriod" startAt="2"/>
              <a:defRPr/>
            </a:pPr>
            <a:r>
              <a:rPr lang="hu-HU" sz="1400" b="1" dirty="0" smtClean="0">
                <a:solidFill>
                  <a:srgbClr val="2A7E54"/>
                </a:solidFill>
              </a:rPr>
              <a:t>Egyszeri </a:t>
            </a:r>
            <a:r>
              <a:rPr lang="hu-HU" sz="1400" b="1" dirty="0">
                <a:solidFill>
                  <a:srgbClr val="2A7E54"/>
                </a:solidFill>
              </a:rPr>
              <a:t>tényezők:</a:t>
            </a:r>
          </a:p>
          <a:p>
            <a:pPr marL="342900" indent="-342900" algn="just" defTabSz="266700">
              <a:buFont typeface="Arial" pitchFamily="34" charset="0"/>
              <a:buChar char="•"/>
              <a:defRPr/>
            </a:pPr>
            <a:r>
              <a:rPr lang="hu-HU" sz="1400" b="1" i="1" dirty="0" smtClean="0">
                <a:solidFill>
                  <a:srgbClr val="000000"/>
                </a:solidFill>
              </a:rPr>
              <a:t>Rossz termés</a:t>
            </a:r>
          </a:p>
          <a:p>
            <a:pPr marL="342900" indent="-342900" algn="just" defTabSz="266700">
              <a:buFont typeface="Arial" pitchFamily="34" charset="0"/>
              <a:buChar char="•"/>
              <a:defRPr/>
            </a:pPr>
            <a:r>
              <a:rPr lang="hu-HU" sz="1400" b="1" i="1" dirty="0" smtClean="0">
                <a:solidFill>
                  <a:srgbClr val="000000"/>
                </a:solidFill>
              </a:rPr>
              <a:t>Az év végén erősen visszaesett az ipar és az export, feltehetően a szabadságolások miatt</a:t>
            </a:r>
          </a:p>
          <a:p>
            <a:pPr algn="just" defTabSz="266700">
              <a:defRPr/>
            </a:pPr>
            <a:endParaRPr lang="hu-HU" sz="400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600" b="1" dirty="0" smtClean="0">
                <a:solidFill>
                  <a:srgbClr val="2A7E54"/>
                </a:solidFill>
              </a:rPr>
              <a:t>2013: 1%-os növekedés várható</a:t>
            </a:r>
          </a:p>
          <a:p>
            <a:pPr marL="342900" indent="-342900" algn="just" defTabSz="266700">
              <a:buFont typeface="+mj-lt"/>
              <a:buAutoNum type="arabicPeriod"/>
              <a:defRPr/>
            </a:pPr>
            <a:r>
              <a:rPr lang="hu-HU" sz="1400" b="1" dirty="0">
                <a:solidFill>
                  <a:srgbClr val="2A7E54"/>
                </a:solidFill>
              </a:rPr>
              <a:t>A tavalyi egyszeri hatások miatt kedvező a </a:t>
            </a:r>
            <a:r>
              <a:rPr lang="hu-HU" sz="1400" b="1" dirty="0" smtClean="0">
                <a:solidFill>
                  <a:srgbClr val="2A7E54"/>
                </a:solidFill>
              </a:rPr>
              <a:t>bázis</a:t>
            </a:r>
          </a:p>
          <a:p>
            <a:pPr marL="342900" indent="-342900" algn="just" defTabSz="266700">
              <a:buFont typeface="+mj-lt"/>
              <a:buAutoNum type="arabicPeriod"/>
              <a:defRPr/>
            </a:pPr>
            <a:r>
              <a:rPr lang="hu-HU" sz="1400" b="1" dirty="0" smtClean="0">
                <a:solidFill>
                  <a:srgbClr val="2A7E54"/>
                </a:solidFill>
              </a:rPr>
              <a:t>A rezsicsökkentés miatt a várttól elmarad az infláció. Ez a reálbérek emelkedését okozza, támogatva a fogyasztást és a növekedést.</a:t>
            </a:r>
            <a:endParaRPr lang="en-GB" sz="1600" dirty="0" smtClean="0">
              <a:solidFill>
                <a:srgbClr val="FF0000"/>
              </a:solidFill>
            </a:endParaRPr>
          </a:p>
          <a:p>
            <a:pPr algn="just" defTabSz="266700">
              <a:defRPr/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pic>
        <p:nvPicPr>
          <p:cNvPr id="6180932" name="Picture 6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5" y="1178750"/>
            <a:ext cx="6631937" cy="43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98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034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138465" y="6652052"/>
            <a:ext cx="765175" cy="287338"/>
          </a:xfrm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1</a:t>
            </a:fld>
            <a:endParaRPr lang="hu-HU" dirty="0" smtClean="0"/>
          </a:p>
        </p:txBody>
      </p:sp>
      <p:sp>
        <p:nvSpPr>
          <p:cNvPr id="19" name="Lekerekített téglalap 18"/>
          <p:cNvSpPr/>
          <p:nvPr>
            <p:custDataLst>
              <p:tags r:id="rId4"/>
            </p:custDataLst>
          </p:nvPr>
        </p:nvSpPr>
        <p:spPr bwMode="auto">
          <a:xfrm>
            <a:off x="2228320" y="459913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2013-ban elérheti a gazdasági növekedés az 1%-ot,de a középtávú kilátások nem rózsásak</a:t>
            </a:r>
          </a:p>
        </p:txBody>
      </p:sp>
      <p:sp>
        <p:nvSpPr>
          <p:cNvPr id="12" name="Lekerekített téglalap 11"/>
          <p:cNvSpPr/>
          <p:nvPr>
            <p:custDataLst>
              <p:tags r:id="rId5"/>
            </p:custDataLst>
          </p:nvPr>
        </p:nvSpPr>
        <p:spPr bwMode="auto">
          <a:xfrm>
            <a:off x="452500" y="288894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Magyarország</a:t>
            </a:r>
            <a:endParaRPr lang="en-US" sz="1800" b="1" dirty="0"/>
          </a:p>
        </p:txBody>
      </p:sp>
      <p:sp>
        <p:nvSpPr>
          <p:cNvPr id="15" name="Lekerekített téglalap 14"/>
          <p:cNvSpPr/>
          <p:nvPr>
            <p:custDataLst>
              <p:tags r:id="rId6"/>
            </p:custDataLst>
          </p:nvPr>
        </p:nvSpPr>
        <p:spPr bwMode="auto">
          <a:xfrm>
            <a:off x="2228320" y="3744035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/>
              <a:t>Az egyensúly helyreállt, a belső kockázatok jelentősen csökkentek. </a:t>
            </a:r>
            <a:endParaRPr lang="hu-HU" sz="1800" b="1" dirty="0" smtClean="0">
              <a:latin typeface="Arial" charset="0"/>
            </a:endParaRPr>
          </a:p>
        </p:txBody>
      </p:sp>
      <p:sp>
        <p:nvSpPr>
          <p:cNvPr id="17" name="Lekerekített téglalap 16"/>
          <p:cNvSpPr/>
          <p:nvPr>
            <p:custDataLst>
              <p:tags r:id="rId7"/>
            </p:custDataLst>
          </p:nvPr>
        </p:nvSpPr>
        <p:spPr bwMode="auto">
          <a:xfrm>
            <a:off x="2228320" y="5454225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Tartós maradhat az alacsony hozamkörnyezet. A megszokott hozamok eléréséhez nagyobb kockázatot kell vállalni</a:t>
            </a:r>
          </a:p>
        </p:txBody>
      </p:sp>
      <p:sp>
        <p:nvSpPr>
          <p:cNvPr id="18" name="Lekerekített téglalap 17"/>
          <p:cNvSpPr/>
          <p:nvPr>
            <p:custDataLst>
              <p:tags r:id="rId8"/>
            </p:custDataLst>
          </p:nvPr>
        </p:nvSpPr>
        <p:spPr bwMode="auto">
          <a:xfrm>
            <a:off x="473125" y="998730"/>
            <a:ext cx="900100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</a:t>
            </a:r>
            <a:r>
              <a:rPr lang="hu-HU" sz="1800" b="1" dirty="0"/>
              <a:t>környezet: költségvetési szigor, </a:t>
            </a:r>
            <a:r>
              <a:rPr lang="hu-HU" sz="1800" b="1" dirty="0" smtClean="0"/>
              <a:t>lassan véget érő óriási pénzbőség, vergődés Európában</a:t>
            </a:r>
            <a:endParaRPr lang="en-US" sz="1800" b="1" dirty="0"/>
          </a:p>
        </p:txBody>
      </p:sp>
      <p:sp>
        <p:nvSpPr>
          <p:cNvPr id="14" name="Lekerekített téglalap 13"/>
          <p:cNvSpPr/>
          <p:nvPr>
            <p:custDataLst>
              <p:tags r:id="rId9"/>
            </p:custDataLst>
          </p:nvPr>
        </p:nvSpPr>
        <p:spPr bwMode="auto">
          <a:xfrm>
            <a:off x="473125" y="1943835"/>
            <a:ext cx="8990725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/>
              <a:t>A régió növekedési motorjai: visszafogott KKE növekedést vetítenek előre a nem túl kedvező európai növekedési kilátások </a:t>
            </a:r>
            <a:endParaRPr lang="hu-HU" sz="1800" b="1" dirty="0"/>
          </a:p>
        </p:txBody>
      </p:sp>
    </p:spTree>
    <p:extLst>
      <p:ext uri="{BB962C8B-B14F-4D97-AF65-F5344CB8AC3E}">
        <p14:creationId xmlns:p14="http://schemas.microsoft.com/office/powerpoint/2010/main" val="1927310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19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283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6" name="Rectangle 2"/>
          <p:cNvSpPr>
            <a:spLocks noGrp="1" noChangeArrowheads="1"/>
          </p:cNvSpPr>
          <p:nvPr>
            <p:ph type="title" idx="4294967295"/>
            <p:custDataLst>
              <p:tags r:id="rId6"/>
            </p:custDataLst>
          </p:nvPr>
        </p:nvSpPr>
        <p:spPr>
          <a:xfrm>
            <a:off x="767536" y="115888"/>
            <a:ext cx="8100900" cy="468312"/>
          </a:xfrm>
        </p:spPr>
        <p:txBody>
          <a:bodyPr/>
          <a:lstStyle/>
          <a:p>
            <a:pPr eaLnBrk="1" hangingPunct="1"/>
            <a:r>
              <a:rPr lang="hu-HU" sz="1800" dirty="0" smtClean="0"/>
              <a:t>2013 Összefoglalás: a helyzet enyhén javul 2013-ban, de továbbra sem lesz igazán kedvező. Emellett érdemes figyelni a kockázatokra is. </a:t>
            </a:r>
            <a:endParaRPr lang="en-US" sz="1800" dirty="0" smtClean="0"/>
          </a:p>
        </p:txBody>
      </p:sp>
      <p:sp>
        <p:nvSpPr>
          <p:cNvPr id="143415" name="AutoShape 5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6677" y="762000"/>
            <a:ext cx="2861098" cy="5457825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  <a:effectLst>
            <a:outerShdw dist="17961" dir="2700000" algn="ctr" rotWithShape="0">
              <a:schemeClr val="folHlink"/>
            </a:outerShdw>
          </a:effectLst>
        </p:spPr>
        <p:txBody>
          <a:bodyPr/>
          <a:lstStyle/>
          <a:p>
            <a:pPr algn="just" defTabSz="266700">
              <a:defRPr/>
            </a:pPr>
            <a:endParaRPr lang="hu-HU" sz="14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endParaRPr lang="hu-HU" sz="14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endParaRPr lang="hu-HU" sz="14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GDP: 									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Fogyasztás: 						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Beruházás: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Export: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Deficit (a GDP %-ban): 	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Államadósság (a GDP %-ban):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Infláció (éves átlagos, %):		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EURHUF (éves átlagos): </a:t>
            </a:r>
          </a:p>
          <a:p>
            <a:pPr algn="just" defTabSz="266700">
              <a:defRPr/>
            </a:pPr>
            <a:endParaRPr lang="hu-HU" sz="8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Alapkamat (%, év végén)</a:t>
            </a:r>
          </a:p>
          <a:p>
            <a:pPr algn="just" defTabSz="266700">
              <a:defRPr/>
            </a:pPr>
            <a:endParaRPr lang="hu-HU" sz="1400" b="1" dirty="0" smtClean="0">
              <a:solidFill>
                <a:srgbClr val="000000"/>
              </a:solidFill>
            </a:endParaRPr>
          </a:p>
          <a:p>
            <a:pPr algn="just" defTabSz="266700">
              <a:defRPr/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2" name="AutoShape 5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58245" y="773705"/>
            <a:ext cx="1575175" cy="5457825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  <a:effectLst>
            <a:outerShdw dist="17961" dir="2700000" algn="ctr" rotWithShape="0">
              <a:schemeClr val="folHlink"/>
            </a:outerShdw>
          </a:effectLst>
        </p:spPr>
        <p:txBody>
          <a:bodyPr/>
          <a:lstStyle/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Mi történt?</a:t>
            </a:r>
            <a:endParaRPr lang="en-GB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rgbClr val="FF0000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rgbClr val="FF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FF0000"/>
                </a:solidFill>
              </a:rPr>
              <a:t>-1,1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					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-1,5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					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-5,0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				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FF0000"/>
                </a:solidFill>
              </a:rPr>
              <a:t>3,1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FF0000"/>
                </a:solidFill>
              </a:rPr>
              <a:t>1,2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-2.5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79,7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000000"/>
                </a:solidFill>
              </a:rPr>
              <a:t>		</a:t>
            </a:r>
          </a:p>
          <a:p>
            <a:pPr algn="ctr" defTabSz="266700">
              <a:defRPr/>
            </a:pPr>
            <a:r>
              <a:rPr lang="hu-HU" b="1" dirty="0" smtClean="0">
                <a:solidFill>
                  <a:srgbClr val="FF0000"/>
                </a:solidFill>
              </a:rPr>
              <a:t>5,8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99CC00"/>
                </a:solidFill>
              </a:rPr>
              <a:t>289,1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99CC00"/>
                </a:solidFill>
              </a:rPr>
              <a:t>291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r>
              <a:rPr lang="hu-HU" b="1" dirty="0" smtClean="0">
                <a:solidFill>
                  <a:srgbClr val="99CC00"/>
                </a:solidFill>
              </a:rPr>
              <a:t>5,75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</p:txBody>
      </p:sp>
      <p:sp>
        <p:nvSpPr>
          <p:cNvPr id="63" name="AutoShape 5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243463" y="783230"/>
            <a:ext cx="5400601" cy="5457825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  <a:effectLst>
            <a:outerShdw dist="17961" dir="2700000" algn="ctr" rotWithShape="0">
              <a:schemeClr val="folHlink"/>
            </a:outerShdw>
          </a:effectLst>
        </p:spPr>
        <p:txBody>
          <a:bodyPr/>
          <a:lstStyle/>
          <a:p>
            <a:pPr algn="just" defTabSz="266700">
              <a:defRPr/>
            </a:pPr>
            <a:r>
              <a:rPr lang="hu-HU" sz="1600" b="1" dirty="0" smtClean="0">
                <a:solidFill>
                  <a:srgbClr val="339966"/>
                </a:solidFill>
              </a:rPr>
              <a:t>Legfontosabb  kérdések, kockázatok:</a:t>
            </a:r>
          </a:p>
          <a:p>
            <a:pPr algn="just" defTabSz="266700">
              <a:defRPr/>
            </a:pPr>
            <a:endParaRPr lang="hu-HU" sz="1600" b="1" dirty="0" smtClean="0">
              <a:solidFill>
                <a:srgbClr val="339966"/>
              </a:solidFill>
            </a:endParaRPr>
          </a:p>
          <a:p>
            <a:pPr marL="342900" indent="-342900" algn="just" defTabSz="266700">
              <a:buFont typeface="Arial" pitchFamily="34" charset="0"/>
              <a:buChar char="•"/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Külső környezet: </a:t>
            </a:r>
          </a:p>
          <a:p>
            <a:pPr marL="342900" indent="-342900" algn="just" defTabSz="266700"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	</a:t>
            </a:r>
            <a:r>
              <a:rPr lang="hu-HU" sz="1600" dirty="0" smtClean="0">
                <a:solidFill>
                  <a:srgbClr val="000000"/>
                </a:solidFill>
              </a:rPr>
              <a:t>A fejlett országokból ideáramló pénzbőség időszakának vége  komoly kockázatot jelent.</a:t>
            </a:r>
            <a:endParaRPr lang="hu-HU" sz="1600" dirty="0">
              <a:solidFill>
                <a:srgbClr val="000000"/>
              </a:solidFill>
            </a:endParaRPr>
          </a:p>
          <a:p>
            <a:pPr marL="342900" indent="-342900" algn="just" defTabSz="266700">
              <a:defRPr/>
            </a:pPr>
            <a:r>
              <a:rPr lang="hu-HU" sz="1600" dirty="0">
                <a:solidFill>
                  <a:srgbClr val="000000"/>
                </a:solidFill>
              </a:rPr>
              <a:t>	</a:t>
            </a:r>
            <a:endParaRPr lang="hu-HU" sz="1600" b="1" dirty="0" smtClean="0">
              <a:solidFill>
                <a:srgbClr val="000000"/>
              </a:solidFill>
            </a:endParaRPr>
          </a:p>
          <a:p>
            <a:pPr marL="342900" indent="-342900" algn="just" defTabSz="266700">
              <a:buFont typeface="Arial" pitchFamily="34" charset="0"/>
              <a:buChar char="•"/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Költségvetés</a:t>
            </a:r>
            <a:r>
              <a:rPr lang="hu-HU" sz="1600" b="1" dirty="0" smtClean="0">
                <a:solidFill>
                  <a:srgbClr val="000000"/>
                </a:solidFill>
              </a:rPr>
              <a:t>, túlzott deficit eljárás?</a:t>
            </a:r>
          </a:p>
          <a:p>
            <a:pPr marL="342900" indent="-342900" algn="just" defTabSz="266700">
              <a:defRPr/>
            </a:pPr>
            <a:r>
              <a:rPr lang="hu-HU" sz="1600" dirty="0" smtClean="0">
                <a:solidFill>
                  <a:srgbClr val="000000"/>
                </a:solidFill>
              </a:rPr>
              <a:t>	Eddig </a:t>
            </a:r>
            <a:r>
              <a:rPr lang="hu-HU" sz="1600" dirty="0" smtClean="0">
                <a:solidFill>
                  <a:srgbClr val="000000"/>
                </a:solidFill>
              </a:rPr>
              <a:t>mindig volt választási költségvetés, kérdés, hogy most lesz-e? </a:t>
            </a:r>
            <a:r>
              <a:rPr lang="hu-HU" sz="1600" dirty="0" smtClean="0">
                <a:solidFill>
                  <a:srgbClr val="000000"/>
                </a:solidFill>
              </a:rPr>
              <a:t>	</a:t>
            </a:r>
          </a:p>
          <a:p>
            <a:pPr marL="342900" indent="-342900" algn="just" defTabSz="266700">
              <a:defRPr/>
            </a:pPr>
            <a:r>
              <a:rPr lang="hu-HU" sz="1600" dirty="0">
                <a:solidFill>
                  <a:srgbClr val="000000"/>
                </a:solidFill>
              </a:rPr>
              <a:t>	</a:t>
            </a:r>
            <a:endParaRPr lang="hu-HU" sz="1600" b="1" dirty="0" smtClean="0">
              <a:solidFill>
                <a:srgbClr val="000000"/>
              </a:solidFill>
            </a:endParaRPr>
          </a:p>
          <a:p>
            <a:pPr marL="342900" indent="-342900" algn="just" defTabSz="266700">
              <a:buFont typeface="Arial" pitchFamily="34" charset="0"/>
              <a:buChar char="•"/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Hogyan változik meg a monetáris politika?</a:t>
            </a:r>
          </a:p>
          <a:p>
            <a:pPr marL="342900" indent="-342900" algn="just" defTabSz="266700">
              <a:defRPr/>
            </a:pPr>
            <a:r>
              <a:rPr lang="hu-HU" sz="1600" dirty="0" smtClean="0">
                <a:solidFill>
                  <a:srgbClr val="000000"/>
                </a:solidFill>
              </a:rPr>
              <a:t>	</a:t>
            </a:r>
            <a:r>
              <a:rPr lang="hu-HU" sz="1600" dirty="0" smtClean="0">
                <a:solidFill>
                  <a:srgbClr val="000000"/>
                </a:solidFill>
              </a:rPr>
              <a:t>Lesz-e nem-konvencionális monetáris politika? (</a:t>
            </a:r>
            <a:r>
              <a:rPr lang="hu-HU" sz="1600" dirty="0" smtClean="0">
                <a:solidFill>
                  <a:srgbClr val="000000"/>
                </a:solidFill>
              </a:rPr>
              <a:t>likviditás-növelés</a:t>
            </a:r>
            <a:r>
              <a:rPr lang="hu-HU" sz="1600" dirty="0">
                <a:solidFill>
                  <a:srgbClr val="000000"/>
                </a:solidFill>
              </a:rPr>
              <a:t>, értékpapír- és állampapír-vásárlások</a:t>
            </a:r>
            <a:r>
              <a:rPr lang="hu-HU" sz="1600" dirty="0" smtClean="0">
                <a:solidFill>
                  <a:srgbClr val="000000"/>
                </a:solidFill>
              </a:rPr>
              <a:t>)? </a:t>
            </a:r>
            <a:r>
              <a:rPr lang="hu-HU" sz="1600" dirty="0" smtClean="0">
                <a:solidFill>
                  <a:srgbClr val="000000"/>
                </a:solidFill>
              </a:rPr>
              <a:t>A </a:t>
            </a:r>
            <a:r>
              <a:rPr lang="hu-HU" sz="1600" dirty="0" smtClean="0">
                <a:solidFill>
                  <a:srgbClr val="000000"/>
                </a:solidFill>
              </a:rPr>
              <a:t>feltételeik nem </a:t>
            </a:r>
            <a:r>
              <a:rPr lang="hu-HU" sz="1600" dirty="0">
                <a:solidFill>
                  <a:srgbClr val="000000"/>
                </a:solidFill>
              </a:rPr>
              <a:t>állnak </a:t>
            </a:r>
            <a:r>
              <a:rPr lang="hu-HU" sz="1600" dirty="0" smtClean="0">
                <a:solidFill>
                  <a:srgbClr val="000000"/>
                </a:solidFill>
              </a:rPr>
              <a:t>fenn, a </a:t>
            </a:r>
            <a:r>
              <a:rPr lang="hu-HU" sz="1600" dirty="0">
                <a:solidFill>
                  <a:srgbClr val="000000"/>
                </a:solidFill>
              </a:rPr>
              <a:t>feltörekvő </a:t>
            </a:r>
            <a:r>
              <a:rPr lang="hu-HU" sz="1600" dirty="0" smtClean="0">
                <a:solidFill>
                  <a:srgbClr val="000000"/>
                </a:solidFill>
              </a:rPr>
              <a:t>országok múltbeli tapasztalatai rendkívül kedvezőtlenek</a:t>
            </a:r>
            <a:r>
              <a:rPr lang="hu-HU" sz="1600" dirty="0">
                <a:solidFill>
                  <a:srgbClr val="000000"/>
                </a:solidFill>
              </a:rPr>
              <a:t>.</a:t>
            </a:r>
          </a:p>
          <a:p>
            <a:pPr marL="342900" indent="-342900" algn="just" defTabSz="266700">
              <a:defRPr/>
            </a:pPr>
            <a:endParaRPr lang="hu-HU" sz="1600" dirty="0">
              <a:solidFill>
                <a:srgbClr val="000000"/>
              </a:solidFill>
            </a:endParaRPr>
          </a:p>
        </p:txBody>
      </p:sp>
      <p:sp>
        <p:nvSpPr>
          <p:cNvPr id="13" name="AutoShape 5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972781" y="773705"/>
            <a:ext cx="1260140" cy="5457825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  <a:effectLst>
            <a:outerShdw dist="17961" dir="2700000" algn="ctr" rotWithShape="0">
              <a:schemeClr val="folHlink"/>
            </a:outerShdw>
          </a:effectLst>
        </p:spPr>
        <p:txBody>
          <a:bodyPr/>
          <a:lstStyle/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Mit várunk </a:t>
            </a: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2013-tól? </a:t>
            </a: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1,0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0,5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-4,3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4,1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/>
              <a:t>2</a:t>
            </a:r>
            <a:r>
              <a:rPr lang="hu-HU" sz="1400" b="1" dirty="0" smtClean="0">
                <a:solidFill>
                  <a:schemeClr val="tx1"/>
                </a:solidFill>
              </a:rPr>
              <a:t>,8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78,0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2,3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297,9</a:t>
            </a:r>
          </a:p>
          <a:p>
            <a:pPr algn="ctr" defTabSz="266700">
              <a:defRPr/>
            </a:pPr>
            <a:endParaRPr lang="hu-HU" sz="800" b="1" dirty="0" smtClean="0">
              <a:solidFill>
                <a:schemeClr val="tx1"/>
              </a:solidFill>
            </a:endParaRPr>
          </a:p>
          <a:p>
            <a:pPr algn="ctr" defTabSz="266700">
              <a:defRPr/>
            </a:pPr>
            <a:r>
              <a:rPr lang="hu-HU" sz="1400" b="1" dirty="0" smtClean="0">
                <a:solidFill>
                  <a:schemeClr val="tx1"/>
                </a:solidFill>
              </a:rPr>
              <a:t>4,0</a:t>
            </a:r>
          </a:p>
          <a:p>
            <a:pPr algn="ctr" defTabSz="266700">
              <a:defRPr/>
            </a:pPr>
            <a:endParaRPr lang="hu-HU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endParaRPr lang="hu-HU" sz="1400" b="1" dirty="0" smtClean="0">
              <a:solidFill>
                <a:srgbClr val="000000"/>
              </a:solidFill>
            </a:endParaRPr>
          </a:p>
          <a:p>
            <a:pPr algn="ctr" defTabSz="266700">
              <a:defRPr/>
            </a:pPr>
            <a:endParaRPr lang="hu-HU" b="1" dirty="0" smtClean="0">
              <a:solidFill>
                <a:schemeClr val="tx1"/>
              </a:solidFill>
            </a:endParaRPr>
          </a:p>
        </p:txBody>
      </p:sp>
      <p:sp>
        <p:nvSpPr>
          <p:cNvPr id="12" name="Téglalap 11"/>
          <p:cNvSpPr/>
          <p:nvPr/>
        </p:nvSpPr>
        <p:spPr bwMode="auto">
          <a:xfrm>
            <a:off x="74490" y="1394810"/>
            <a:ext cx="4176000" cy="324000"/>
          </a:xfrm>
          <a:prstGeom prst="rect">
            <a:avLst/>
          </a:prstGeom>
          <a:solidFill>
            <a:srgbClr val="99CC00">
              <a:alpha val="2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20000"/>
              </a:spcBef>
            </a:pP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14" name="Téglalap 13"/>
          <p:cNvSpPr/>
          <p:nvPr/>
        </p:nvSpPr>
        <p:spPr bwMode="auto">
          <a:xfrm>
            <a:off x="74490" y="2043370"/>
            <a:ext cx="4176000" cy="324000"/>
          </a:xfrm>
          <a:prstGeom prst="rect">
            <a:avLst/>
          </a:prstGeom>
          <a:solidFill>
            <a:srgbClr val="99CC00">
              <a:alpha val="2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20000"/>
              </a:spcBef>
            </a:pP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15" name="Téglalap 14"/>
          <p:cNvSpPr/>
          <p:nvPr/>
        </p:nvSpPr>
        <p:spPr bwMode="auto">
          <a:xfrm>
            <a:off x="56921" y="2708920"/>
            <a:ext cx="4176000" cy="324000"/>
          </a:xfrm>
          <a:prstGeom prst="rect">
            <a:avLst/>
          </a:prstGeom>
          <a:solidFill>
            <a:srgbClr val="99CC00">
              <a:alpha val="2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20000"/>
              </a:spcBef>
            </a:pP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16" name="Téglalap 15"/>
          <p:cNvSpPr/>
          <p:nvPr/>
        </p:nvSpPr>
        <p:spPr bwMode="auto">
          <a:xfrm>
            <a:off x="75286" y="3340617"/>
            <a:ext cx="4176000" cy="324000"/>
          </a:xfrm>
          <a:prstGeom prst="rect">
            <a:avLst/>
          </a:prstGeom>
          <a:solidFill>
            <a:srgbClr val="99CC00">
              <a:alpha val="2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20000"/>
              </a:spcBef>
            </a:pPr>
            <a:endParaRPr lang="hu-HU" sz="1400" b="1" dirty="0">
              <a:solidFill>
                <a:schemeClr val="tx1"/>
              </a:solidFill>
            </a:endParaRPr>
          </a:p>
        </p:txBody>
      </p:sp>
      <p:sp>
        <p:nvSpPr>
          <p:cNvPr id="17" name="Téglalap 16"/>
          <p:cNvSpPr/>
          <p:nvPr/>
        </p:nvSpPr>
        <p:spPr bwMode="auto">
          <a:xfrm>
            <a:off x="87236" y="4059070"/>
            <a:ext cx="4176000" cy="324000"/>
          </a:xfrm>
          <a:prstGeom prst="rect">
            <a:avLst/>
          </a:prstGeom>
          <a:solidFill>
            <a:srgbClr val="99CC00">
              <a:alpha val="2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ct val="20000"/>
              </a:spcBef>
            </a:pPr>
            <a:endParaRPr lang="hu-H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913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480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1" y="996424"/>
            <a:ext cx="7162897" cy="46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3" name="Rectangle 6"/>
          <p:cNvSpPr>
            <a:spLocks noGrp="1" noChangeArrowheads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20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5125" name="Rectangle 6"/>
          <p:cNvSpPr txBox="1">
            <a:spLocks noGrp="1" noChangeArrowheads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8269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51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12539" y="115888"/>
            <a:ext cx="8983509" cy="468312"/>
          </a:xfrm>
        </p:spPr>
        <p:txBody>
          <a:bodyPr/>
          <a:lstStyle/>
          <a:p>
            <a:pPr eaLnBrk="1" hangingPunct="1"/>
            <a:r>
              <a:rPr lang="hu-HU" sz="1800" dirty="0" smtClean="0"/>
              <a:t>De középtávon </a:t>
            </a:r>
            <a:r>
              <a:rPr lang="hu-HU" sz="1800" dirty="0" smtClean="0"/>
              <a:t>a </a:t>
            </a:r>
            <a:r>
              <a:rPr lang="hu-HU" sz="1800" dirty="0" smtClean="0"/>
              <a:t>régiós 3,5-4%-tól lényegesen elmaradó, 2% körüli növekedést vár a piac M</a:t>
            </a:r>
            <a:r>
              <a:rPr lang="hu-HU" sz="1800" dirty="0" smtClean="0"/>
              <a:t>agyarországtól</a:t>
            </a:r>
            <a:endParaRPr lang="en-US" sz="1800" dirty="0" smtClean="0"/>
          </a:p>
        </p:txBody>
      </p:sp>
      <p:sp>
        <p:nvSpPr>
          <p:cNvPr id="166940" name="Text Box 28"/>
          <p:cNvSpPr txBox="1">
            <a:spLocks noChangeArrowheads="1"/>
          </p:cNvSpPr>
          <p:nvPr/>
        </p:nvSpPr>
        <p:spPr bwMode="auto">
          <a:xfrm>
            <a:off x="47455" y="638690"/>
            <a:ext cx="36004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n-GB" sz="1400" b="1" dirty="0" smtClean="0">
                <a:solidFill>
                  <a:srgbClr val="000000"/>
                </a:solidFill>
              </a:rPr>
              <a:t>GDP</a:t>
            </a:r>
            <a:r>
              <a:rPr lang="hu-HU" sz="1400" b="1" dirty="0" smtClean="0">
                <a:solidFill>
                  <a:srgbClr val="000000"/>
                </a:solidFill>
              </a:rPr>
              <a:t>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hu-HU" sz="1200" dirty="0" smtClean="0">
                <a:solidFill>
                  <a:srgbClr val="000000"/>
                </a:solidFill>
              </a:rPr>
              <a:t>Reál, éves változás</a:t>
            </a:r>
            <a:r>
              <a:rPr lang="en-GB" sz="1200" dirty="0" smtClean="0">
                <a:solidFill>
                  <a:srgbClr val="000000"/>
                </a:solidFill>
              </a:rPr>
              <a:t>, %)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134" name="Text Box 11"/>
          <p:cNvSpPr txBox="1">
            <a:spLocks noChangeArrowheads="1"/>
          </p:cNvSpPr>
          <p:nvPr/>
        </p:nvSpPr>
        <p:spPr bwMode="auto">
          <a:xfrm>
            <a:off x="44450" y="5992657"/>
            <a:ext cx="6256338" cy="190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chemeClr val="tx1"/>
                </a:solidFill>
              </a:rPr>
              <a:t>Forrás</a:t>
            </a:r>
            <a:r>
              <a:rPr lang="en-GB" sz="900" dirty="0" smtClean="0">
                <a:solidFill>
                  <a:schemeClr val="tx1"/>
                </a:solidFill>
              </a:rPr>
              <a:t>: </a:t>
            </a:r>
            <a:r>
              <a:rPr lang="hu-HU" sz="900" dirty="0" smtClean="0">
                <a:solidFill>
                  <a:schemeClr val="tx1"/>
                </a:solidFill>
              </a:rPr>
              <a:t>KSH</a:t>
            </a:r>
            <a:r>
              <a:rPr lang="en-GB" sz="900" dirty="0" smtClean="0">
                <a:solidFill>
                  <a:schemeClr val="tx1"/>
                </a:solidFill>
              </a:rPr>
              <a:t>, Eurostat, OTP </a:t>
            </a:r>
            <a:r>
              <a:rPr lang="hu-HU" sz="900" dirty="0" smtClean="0">
                <a:solidFill>
                  <a:schemeClr val="tx1"/>
                </a:solidFill>
              </a:rPr>
              <a:t>Elemzés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5137" name="Dia számának helye 43"/>
          <p:cNvSpPr txBox="1">
            <a:spLocks noGrp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6" name="Szövegdoboz 55"/>
          <p:cNvSpPr txBox="1"/>
          <p:nvPr/>
        </p:nvSpPr>
        <p:spPr>
          <a:xfrm>
            <a:off x="182470" y="6354327"/>
            <a:ext cx="4320480" cy="400110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r>
              <a:rPr lang="hu-HU" sz="2000" dirty="0">
                <a:solidFill>
                  <a:schemeClr val="bg1"/>
                </a:solidFill>
              </a:rPr>
              <a:t>Kereskedelmi Banki Igazgatóság</a:t>
            </a:r>
          </a:p>
        </p:txBody>
      </p:sp>
      <p:cxnSp>
        <p:nvCxnSpPr>
          <p:cNvPr id="74" name="Egyenes összekötő 73"/>
          <p:cNvCxnSpPr/>
          <p:nvPr/>
        </p:nvCxnSpPr>
        <p:spPr bwMode="auto">
          <a:xfrm flipV="1">
            <a:off x="4367935" y="1313765"/>
            <a:ext cx="1" cy="3538718"/>
          </a:xfrm>
          <a:prstGeom prst="line">
            <a:avLst/>
          </a:prstGeom>
          <a:solidFill>
            <a:srgbClr val="006649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Szövegdoboz 74"/>
          <p:cNvSpPr txBox="1"/>
          <p:nvPr/>
        </p:nvSpPr>
        <p:spPr>
          <a:xfrm rot="16200000">
            <a:off x="4144510" y="1793211"/>
            <a:ext cx="12536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b="1" dirty="0" smtClean="0">
                <a:solidFill>
                  <a:srgbClr val="808080"/>
                </a:solidFill>
              </a:rPr>
              <a:t>Előrejelzés</a:t>
            </a:r>
            <a:endParaRPr lang="en-GB" sz="1400" b="1" dirty="0">
              <a:solidFill>
                <a:srgbClr val="808080"/>
              </a:solidFill>
            </a:endParaRPr>
          </a:p>
        </p:txBody>
      </p:sp>
      <p:sp>
        <p:nvSpPr>
          <p:cNvPr id="76" name="AutoShape 55"/>
          <p:cNvSpPr>
            <a:spLocks noChangeArrowheads="1"/>
          </p:cNvSpPr>
          <p:nvPr/>
        </p:nvSpPr>
        <p:spPr bwMode="auto">
          <a:xfrm>
            <a:off x="7248255" y="593170"/>
            <a:ext cx="2547794" cy="59411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hu-HU" sz="1600" b="1" dirty="0">
                <a:solidFill>
                  <a:srgbClr val="000000"/>
                </a:solidFill>
              </a:rPr>
              <a:t>A lemaradás okai: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>
                <a:solidFill>
                  <a:srgbClr val="000000"/>
                </a:solidFill>
              </a:rPr>
              <a:t>2002-2006: </a:t>
            </a:r>
            <a:r>
              <a:rPr lang="hu-HU" sz="1600" dirty="0" smtClean="0">
                <a:solidFill>
                  <a:srgbClr val="000000"/>
                </a:solidFill>
              </a:rPr>
              <a:t>magas hiány,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magas bizonytalanság,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elmaradó </a:t>
            </a:r>
            <a:r>
              <a:rPr lang="hu-HU" sz="1600" dirty="0">
                <a:solidFill>
                  <a:srgbClr val="000000"/>
                </a:solidFill>
              </a:rPr>
              <a:t>beruházások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>
                <a:solidFill>
                  <a:srgbClr val="000000"/>
                </a:solidFill>
              </a:rPr>
              <a:t>2007-2010: </a:t>
            </a:r>
            <a:r>
              <a:rPr lang="hu-HU" sz="1600" dirty="0" smtClean="0">
                <a:solidFill>
                  <a:srgbClr val="000000"/>
                </a:solidFill>
              </a:rPr>
              <a:t>válság,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költségvetési kiigazítás</a:t>
            </a:r>
            <a:r>
              <a:rPr lang="hu-HU" sz="1600" dirty="0">
                <a:solidFill>
                  <a:srgbClr val="000000"/>
                </a:solidFill>
              </a:rPr>
              <a:t>, </a:t>
            </a:r>
            <a:endParaRPr lang="hu-HU" sz="1600" dirty="0" smtClean="0">
              <a:solidFill>
                <a:srgbClr val="000000"/>
              </a:solidFill>
            </a:endParaRPr>
          </a:p>
          <a:p>
            <a:r>
              <a:rPr lang="hu-HU" sz="1600" dirty="0" smtClean="0">
                <a:solidFill>
                  <a:srgbClr val="000000"/>
                </a:solidFill>
              </a:rPr>
              <a:t>csökkenő fogyasztás</a:t>
            </a:r>
            <a:r>
              <a:rPr lang="hu-HU" sz="1600" dirty="0">
                <a:solidFill>
                  <a:srgbClr val="000000"/>
                </a:solidFill>
              </a:rPr>
              <a:t>, 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>
                <a:solidFill>
                  <a:srgbClr val="000000"/>
                </a:solidFill>
              </a:rPr>
              <a:t>2010-: </a:t>
            </a:r>
            <a:r>
              <a:rPr lang="hu-HU" sz="1600" dirty="0" smtClean="0">
                <a:solidFill>
                  <a:srgbClr val="000000"/>
                </a:solidFill>
              </a:rPr>
              <a:t>romló tőkevonzó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képesség: a gazdaság-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politika kiszámíthatatlan és 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növeli a vállalatok terheit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en-GB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77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6"/>
          <p:cNvSpPr>
            <a:spLocks noGrp="1" noChangeArrowheads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21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5125" name="Rectangle 6"/>
          <p:cNvSpPr txBox="1">
            <a:spLocks noGrp="1" noChangeArrowheads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70969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37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12539" y="115888"/>
            <a:ext cx="8983509" cy="387787"/>
          </a:xfrm>
        </p:spPr>
        <p:txBody>
          <a:bodyPr/>
          <a:lstStyle/>
          <a:p>
            <a:pPr eaLnBrk="1" hangingPunct="1"/>
            <a:r>
              <a:rPr lang="hu-HU" sz="1800" dirty="0" smtClean="0"/>
              <a:t>Ami alapján a lemaradás tovább nő 2017-ig</a:t>
            </a:r>
            <a:endParaRPr lang="en-US" sz="1800" dirty="0" smtClean="0"/>
          </a:p>
        </p:txBody>
      </p:sp>
      <p:sp>
        <p:nvSpPr>
          <p:cNvPr id="5134" name="Text Box 11"/>
          <p:cNvSpPr txBox="1">
            <a:spLocks noChangeArrowheads="1"/>
          </p:cNvSpPr>
          <p:nvPr/>
        </p:nvSpPr>
        <p:spPr bwMode="auto">
          <a:xfrm>
            <a:off x="44450" y="5992657"/>
            <a:ext cx="6256338" cy="190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chemeClr val="tx1"/>
                </a:solidFill>
              </a:rPr>
              <a:t>Forrás</a:t>
            </a:r>
            <a:r>
              <a:rPr lang="en-GB" sz="900" dirty="0" smtClean="0">
                <a:solidFill>
                  <a:schemeClr val="tx1"/>
                </a:solidFill>
              </a:rPr>
              <a:t>: </a:t>
            </a:r>
            <a:r>
              <a:rPr lang="hu-HU" sz="900" dirty="0" smtClean="0">
                <a:solidFill>
                  <a:schemeClr val="tx1"/>
                </a:solidFill>
              </a:rPr>
              <a:t>KSH</a:t>
            </a:r>
            <a:r>
              <a:rPr lang="en-GB" sz="900" dirty="0" smtClean="0">
                <a:solidFill>
                  <a:schemeClr val="tx1"/>
                </a:solidFill>
              </a:rPr>
              <a:t>, Eurostat, OTP </a:t>
            </a:r>
            <a:r>
              <a:rPr lang="hu-HU" sz="900" dirty="0" smtClean="0">
                <a:solidFill>
                  <a:schemeClr val="tx1"/>
                </a:solidFill>
              </a:rPr>
              <a:t>Elemzés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5137" name="Dia számának helye 43"/>
          <p:cNvSpPr txBox="1">
            <a:spLocks noGrp="1"/>
          </p:cNvSpPr>
          <p:nvPr/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6" name="Szövegdoboz 55"/>
          <p:cNvSpPr txBox="1"/>
          <p:nvPr/>
        </p:nvSpPr>
        <p:spPr>
          <a:xfrm>
            <a:off x="182470" y="6354327"/>
            <a:ext cx="4320480" cy="400110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r>
              <a:rPr lang="hu-HU" sz="2000" dirty="0">
                <a:solidFill>
                  <a:schemeClr val="bg1"/>
                </a:solidFill>
              </a:rPr>
              <a:t>Kereskedelmi Banki Igazgatóság</a:t>
            </a:r>
          </a:p>
        </p:txBody>
      </p:sp>
      <p:sp>
        <p:nvSpPr>
          <p:cNvPr id="73" name="Text Box 28"/>
          <p:cNvSpPr txBox="1">
            <a:spLocks noChangeArrowheads="1"/>
          </p:cNvSpPr>
          <p:nvPr/>
        </p:nvSpPr>
        <p:spPr bwMode="auto">
          <a:xfrm>
            <a:off x="992560" y="760014"/>
            <a:ext cx="36004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n-GB" sz="1400" b="1" dirty="0" smtClean="0">
                <a:solidFill>
                  <a:srgbClr val="000000"/>
                </a:solidFill>
              </a:rPr>
              <a:t>GDP</a:t>
            </a:r>
            <a:r>
              <a:rPr lang="hu-HU" sz="1400" b="1" dirty="0" smtClean="0">
                <a:solidFill>
                  <a:srgbClr val="000000"/>
                </a:solidFill>
              </a:rPr>
              <a:t>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hu-HU" sz="1200" dirty="0" smtClean="0">
                <a:solidFill>
                  <a:srgbClr val="000000"/>
                </a:solidFill>
              </a:rPr>
              <a:t>Reál, 2004= 100</a:t>
            </a:r>
            <a:r>
              <a:rPr lang="en-GB" sz="1200" dirty="0" smtClean="0">
                <a:solidFill>
                  <a:srgbClr val="000000"/>
                </a:solidFill>
              </a:rPr>
              <a:t>%)</a:t>
            </a:r>
            <a:endParaRPr lang="en-GB" sz="1200" dirty="0">
              <a:solidFill>
                <a:srgbClr val="000000"/>
              </a:solidFill>
            </a:endParaRPr>
          </a:p>
        </p:txBody>
      </p:sp>
      <p:pic>
        <p:nvPicPr>
          <p:cNvPr id="532480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01" y="1059188"/>
            <a:ext cx="7162897" cy="46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0" name="Egyenes összekötő 59"/>
          <p:cNvCxnSpPr/>
          <p:nvPr/>
        </p:nvCxnSpPr>
        <p:spPr bwMode="auto">
          <a:xfrm flipV="1">
            <a:off x="5403051" y="1067791"/>
            <a:ext cx="1" cy="3801369"/>
          </a:xfrm>
          <a:prstGeom prst="line">
            <a:avLst/>
          </a:prstGeom>
          <a:solidFill>
            <a:srgbClr val="006649"/>
          </a:solidFill>
          <a:ln w="127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Szövegdoboz 49"/>
          <p:cNvSpPr txBox="1"/>
          <p:nvPr/>
        </p:nvSpPr>
        <p:spPr>
          <a:xfrm rot="16200000">
            <a:off x="5317202" y="1694109"/>
            <a:ext cx="1248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b="1" dirty="0" smtClean="0">
                <a:solidFill>
                  <a:srgbClr val="808080"/>
                </a:solidFill>
              </a:rPr>
              <a:t>Előrejelzés</a:t>
            </a:r>
            <a:endParaRPr lang="en-GB" sz="1400" b="1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78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95814" name="Picture 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550" y="1223755"/>
            <a:ext cx="7733019" cy="50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3" name="Objektum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442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413" name="Dia számának hely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7ACAD79C-C6D2-492E-89B2-2573C9AA0389}" type="slidenum">
              <a:rPr lang="en-GB" sz="1000" b="0">
                <a:solidFill>
                  <a:schemeClr val="tx1"/>
                </a:solidFill>
              </a:rPr>
              <a:pPr algn="r"/>
              <a:t>22</a:t>
            </a:fld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17" name="Text Box 2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7536" y="818712"/>
            <a:ext cx="886598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A bankszektor nettó hitelkihelyezése a magánszektor felé </a:t>
            </a:r>
            <a:r>
              <a:rPr lang="hu-HU" sz="1400" dirty="0" smtClean="0">
                <a:solidFill>
                  <a:srgbClr val="000000"/>
                </a:solidFill>
              </a:rPr>
              <a:t>(SA, a GDP arányában, %)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" name="Cím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12540" y="60328"/>
            <a:ext cx="9093459" cy="504825"/>
          </a:xfrm>
          <a:prstGeom prst="rect">
            <a:avLst/>
          </a:prstGeom>
        </p:spPr>
        <p:txBody>
          <a:bodyPr rIns="36000" anchor="ctr">
            <a:noAutofit/>
          </a:bodyPr>
          <a:lstStyle/>
          <a:p>
            <a:pPr eaLnBrk="0" hangingPunct="0">
              <a:lnSpc>
                <a:spcPct val="90000"/>
              </a:lnSpc>
              <a:defRPr/>
            </a:pPr>
            <a:r>
              <a:rPr lang="hu-HU" sz="1800" b="1" dirty="0" smtClean="0"/>
              <a:t>A lemaradás fő tünetei 1. Régiós </a:t>
            </a:r>
            <a:r>
              <a:rPr lang="hu-HU" sz="1800" b="1" dirty="0" smtClean="0"/>
              <a:t>összevetésben itt a leggyengébb a hitelezési aktivitás, </a:t>
            </a:r>
            <a:r>
              <a:rPr lang="hu-HU" sz="1800" b="1" dirty="0" smtClean="0"/>
              <a:t>ami </a:t>
            </a:r>
            <a:r>
              <a:rPr lang="hu-HU" sz="1800" b="1" dirty="0" smtClean="0"/>
              <a:t>visszahúzza a növekedést</a:t>
            </a:r>
            <a:endParaRPr lang="en-US" sz="1800" b="1" dirty="0" smtClean="0"/>
          </a:p>
        </p:txBody>
      </p:sp>
      <p:sp>
        <p:nvSpPr>
          <p:cNvPr id="15" name="Szövegdoboz 14"/>
          <p:cNvSpPr txBox="1"/>
          <p:nvPr>
            <p:custDataLst>
              <p:tags r:id="rId6"/>
            </p:custDataLst>
          </p:nvPr>
        </p:nvSpPr>
        <p:spPr>
          <a:xfrm>
            <a:off x="2649904" y="2629092"/>
            <a:ext cx="855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rgbClr val="6893C6"/>
                </a:solidFill>
              </a:rPr>
              <a:t>CEE </a:t>
            </a:r>
            <a:r>
              <a:rPr lang="hu-HU" sz="1000" b="1" dirty="0" err="1" smtClean="0">
                <a:solidFill>
                  <a:srgbClr val="6893C6"/>
                </a:solidFill>
              </a:rPr>
              <a:t>max</a:t>
            </a:r>
            <a:endParaRPr lang="hu-HU" sz="1000" b="1" dirty="0" smtClean="0">
              <a:solidFill>
                <a:srgbClr val="6893C6"/>
              </a:solidFill>
            </a:endParaRPr>
          </a:p>
          <a:p>
            <a:r>
              <a:rPr lang="hu-HU" sz="1000" dirty="0" smtClean="0">
                <a:solidFill>
                  <a:srgbClr val="6893C6"/>
                </a:solidFill>
              </a:rPr>
              <a:t>(w/o HU)</a:t>
            </a:r>
            <a:endParaRPr lang="en-US" sz="1000" dirty="0">
              <a:solidFill>
                <a:srgbClr val="6893C6"/>
              </a:solidFill>
            </a:endParaRPr>
          </a:p>
        </p:txBody>
      </p:sp>
      <p:sp>
        <p:nvSpPr>
          <p:cNvPr id="16" name="Szövegdoboz 15"/>
          <p:cNvSpPr txBox="1"/>
          <p:nvPr>
            <p:custDataLst>
              <p:tags r:id="rId7"/>
            </p:custDataLst>
          </p:nvPr>
        </p:nvSpPr>
        <p:spPr>
          <a:xfrm>
            <a:off x="2334869" y="4238530"/>
            <a:ext cx="855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rgbClr val="6893C6"/>
                </a:solidFill>
              </a:rPr>
              <a:t>CEE min </a:t>
            </a:r>
            <a:r>
              <a:rPr lang="hu-HU" sz="1000" dirty="0" smtClean="0">
                <a:solidFill>
                  <a:srgbClr val="6893C6"/>
                </a:solidFill>
              </a:rPr>
              <a:t>(w/o HU)</a:t>
            </a:r>
            <a:endParaRPr lang="en-US" sz="1000" b="1" dirty="0">
              <a:solidFill>
                <a:srgbClr val="6893C6"/>
              </a:solidFill>
            </a:endParaRPr>
          </a:p>
        </p:txBody>
      </p:sp>
      <p:sp>
        <p:nvSpPr>
          <p:cNvPr id="18" name="Szövegdoboz 17"/>
          <p:cNvSpPr txBox="1"/>
          <p:nvPr>
            <p:custDataLst>
              <p:tags r:id="rId8"/>
            </p:custDataLst>
          </p:nvPr>
        </p:nvSpPr>
        <p:spPr>
          <a:xfrm>
            <a:off x="6520334" y="5048620"/>
            <a:ext cx="461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chemeClr val="accent1"/>
                </a:solidFill>
              </a:rPr>
              <a:t>HU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sp>
        <p:nvSpPr>
          <p:cNvPr id="19" name="Szövegdoboz 18"/>
          <p:cNvSpPr txBox="1"/>
          <p:nvPr>
            <p:custDataLst>
              <p:tags r:id="rId9"/>
            </p:custDataLst>
          </p:nvPr>
        </p:nvSpPr>
        <p:spPr>
          <a:xfrm>
            <a:off x="6430324" y="4217334"/>
            <a:ext cx="9901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/>
              <a:t>CEE w/o HU</a:t>
            </a:r>
            <a:endParaRPr lang="en-US" sz="1000" b="1" dirty="0"/>
          </a:p>
        </p:txBody>
      </p:sp>
      <p:cxnSp>
        <p:nvCxnSpPr>
          <p:cNvPr id="20" name="Egyenes összekötő 19"/>
          <p:cNvCxnSpPr/>
          <p:nvPr>
            <p:custDataLst>
              <p:tags r:id="rId10"/>
            </p:custDataLst>
          </p:nvPr>
        </p:nvCxnSpPr>
        <p:spPr>
          <a:xfrm flipV="1">
            <a:off x="5440214" y="2753365"/>
            <a:ext cx="0" cy="2475277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zövegdoboz 20"/>
          <p:cNvSpPr txBox="1"/>
          <p:nvPr>
            <p:custDataLst>
              <p:tags r:id="rId11"/>
            </p:custDataLst>
          </p:nvPr>
        </p:nvSpPr>
        <p:spPr>
          <a:xfrm>
            <a:off x="4450104" y="2798370"/>
            <a:ext cx="945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1200" b="1" dirty="0" smtClean="0">
                <a:solidFill>
                  <a:schemeClr val="accent1"/>
                </a:solidFill>
              </a:rPr>
              <a:t>ÁTLAG KÖRÜLI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2" name="Szövegdoboz 21"/>
          <p:cNvSpPr txBox="1"/>
          <p:nvPr>
            <p:custDataLst>
              <p:tags r:id="rId12"/>
            </p:custDataLst>
          </p:nvPr>
        </p:nvSpPr>
        <p:spPr>
          <a:xfrm>
            <a:off x="5440214" y="2798370"/>
            <a:ext cx="12601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dirty="0" smtClean="0">
                <a:solidFill>
                  <a:schemeClr val="accent1"/>
                </a:solidFill>
              </a:rPr>
              <a:t>ÁTLAG ALATTI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4" name="Text Box 1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6525" y="6523865"/>
            <a:ext cx="6256338" cy="2880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b="0" dirty="0" smtClean="0"/>
              <a:t>Forrás: Nemzeti Bankok, OTP Bank</a:t>
            </a:r>
          </a:p>
          <a:p>
            <a:pPr defTabSz="912813">
              <a:lnSpc>
                <a:spcPct val="70000"/>
              </a:lnSpc>
            </a:pPr>
            <a:r>
              <a:rPr lang="hu-HU" sz="900" dirty="0" smtClean="0"/>
              <a:t>CEE : Visegrádi országok és Románia illetve Bulgária</a:t>
            </a:r>
            <a:endParaRPr lang="en-GB" sz="900" dirty="0" smtClean="0"/>
          </a:p>
        </p:txBody>
      </p:sp>
    </p:spTree>
    <p:extLst>
      <p:ext uri="{BB962C8B-B14F-4D97-AF65-F5344CB8AC3E}">
        <p14:creationId xmlns:p14="http://schemas.microsoft.com/office/powerpoint/2010/main" val="2112163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94790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00" y="987758"/>
            <a:ext cx="8285379" cy="54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5" name="Objektum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44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413" name="Dia számának hely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7ACAD79C-C6D2-492E-89B2-2573C9AA0389}" type="slidenum">
              <a:rPr lang="en-GB" sz="1000" b="0">
                <a:solidFill>
                  <a:schemeClr val="tx1"/>
                </a:solidFill>
              </a:rPr>
              <a:pPr algn="r"/>
              <a:t>23</a:t>
            </a:fld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401546" name="Rectangle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7535" y="43855"/>
            <a:ext cx="8911454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hu-HU" sz="1800" b="1" dirty="0"/>
              <a:t>A lemaradás fő tünetei </a:t>
            </a:r>
            <a:r>
              <a:rPr lang="hu-HU" sz="1800" b="1" dirty="0" smtClean="0"/>
              <a:t>2. A </a:t>
            </a:r>
            <a:r>
              <a:rPr lang="hu-HU" sz="1800" b="1" dirty="0" smtClean="0">
                <a:latin typeface="+mj-lt"/>
                <a:ea typeface="+mj-ea"/>
                <a:cs typeface="+mj-cs"/>
              </a:rPr>
              <a:t>beruházási </a:t>
            </a:r>
            <a:r>
              <a:rPr lang="hu-HU" sz="1800" b="1" dirty="0" smtClean="0">
                <a:latin typeface="+mj-lt"/>
                <a:ea typeface="+mj-ea"/>
                <a:cs typeface="+mj-cs"/>
              </a:rPr>
              <a:t>ráta Magyarországon legalacsonyabb, </a:t>
            </a:r>
          </a:p>
          <a:p>
            <a:pPr eaLnBrk="0" hangingPunct="0"/>
            <a:r>
              <a:rPr lang="hu-HU" sz="1800" b="1" dirty="0" smtClean="0">
                <a:latin typeface="+mj-lt"/>
                <a:ea typeface="+mj-ea"/>
                <a:cs typeface="+mj-cs"/>
              </a:rPr>
              <a:t>ami alig fedezi az elavuló tőkeállományt</a:t>
            </a:r>
          </a:p>
        </p:txBody>
      </p:sp>
      <p:sp>
        <p:nvSpPr>
          <p:cNvPr id="17" name="Text Box 2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2550" y="818710"/>
            <a:ext cx="364540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400" b="1" dirty="0" smtClean="0">
                <a:solidFill>
                  <a:srgbClr val="000000"/>
                </a:solidFill>
              </a:rPr>
              <a:t>A beruházások a GDP arányában </a:t>
            </a:r>
            <a:r>
              <a:rPr lang="hu-HU" sz="1400" dirty="0" smtClean="0">
                <a:solidFill>
                  <a:srgbClr val="000000"/>
                </a:solidFill>
              </a:rPr>
              <a:t>(%)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" name="Szövegdoboz 15"/>
          <p:cNvSpPr txBox="1"/>
          <p:nvPr>
            <p:custDataLst>
              <p:tags r:id="rId6"/>
            </p:custDataLst>
          </p:nvPr>
        </p:nvSpPr>
        <p:spPr>
          <a:xfrm>
            <a:off x="3602850" y="2078850"/>
            <a:ext cx="855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rgbClr val="6893C6"/>
                </a:solidFill>
              </a:rPr>
              <a:t>CEE </a:t>
            </a:r>
            <a:r>
              <a:rPr lang="hu-HU" sz="1000" b="1" dirty="0" err="1" smtClean="0">
                <a:solidFill>
                  <a:srgbClr val="6893C6"/>
                </a:solidFill>
              </a:rPr>
              <a:t>max</a:t>
            </a:r>
            <a:endParaRPr lang="hu-HU" sz="1000" b="1" dirty="0" smtClean="0">
              <a:solidFill>
                <a:srgbClr val="6893C6"/>
              </a:solidFill>
            </a:endParaRPr>
          </a:p>
          <a:p>
            <a:r>
              <a:rPr lang="hu-HU" sz="1000" dirty="0" smtClean="0">
                <a:solidFill>
                  <a:srgbClr val="6893C6"/>
                </a:solidFill>
              </a:rPr>
              <a:t>(w/o HU)</a:t>
            </a:r>
            <a:endParaRPr lang="en-US" sz="1000" dirty="0">
              <a:solidFill>
                <a:srgbClr val="6893C6"/>
              </a:solidFill>
            </a:endParaRPr>
          </a:p>
        </p:txBody>
      </p:sp>
      <p:sp>
        <p:nvSpPr>
          <p:cNvPr id="18" name="Szövegdoboz 17"/>
          <p:cNvSpPr txBox="1"/>
          <p:nvPr>
            <p:custDataLst>
              <p:tags r:id="rId7"/>
            </p:custDataLst>
          </p:nvPr>
        </p:nvSpPr>
        <p:spPr>
          <a:xfrm>
            <a:off x="2027675" y="4554125"/>
            <a:ext cx="8550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rgbClr val="6893C6"/>
                </a:solidFill>
              </a:rPr>
              <a:t>CEE min </a:t>
            </a:r>
            <a:r>
              <a:rPr lang="hu-HU" sz="1000" dirty="0" smtClean="0">
                <a:solidFill>
                  <a:srgbClr val="6893C6"/>
                </a:solidFill>
              </a:rPr>
              <a:t>(w/o HU)</a:t>
            </a:r>
            <a:endParaRPr lang="en-US" sz="1000" b="1" dirty="0">
              <a:solidFill>
                <a:srgbClr val="6893C6"/>
              </a:solidFill>
            </a:endParaRPr>
          </a:p>
        </p:txBody>
      </p:sp>
      <p:sp>
        <p:nvSpPr>
          <p:cNvPr id="19" name="Szövegdoboz 18"/>
          <p:cNvSpPr txBox="1"/>
          <p:nvPr>
            <p:custDataLst>
              <p:tags r:id="rId8"/>
            </p:custDataLst>
          </p:nvPr>
        </p:nvSpPr>
        <p:spPr>
          <a:xfrm>
            <a:off x="6033120" y="3609020"/>
            <a:ext cx="4612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b="1" dirty="0" smtClean="0">
                <a:solidFill>
                  <a:schemeClr val="accent1"/>
                </a:solidFill>
              </a:rPr>
              <a:t>HU</a:t>
            </a:r>
            <a:endParaRPr lang="en-US" sz="1000" b="1" dirty="0">
              <a:solidFill>
                <a:schemeClr val="accent1"/>
              </a:solidFill>
            </a:endParaRPr>
          </a:p>
        </p:txBody>
      </p:sp>
      <p:cxnSp>
        <p:nvCxnSpPr>
          <p:cNvPr id="22" name="Egyenes összekötő 21"/>
          <p:cNvCxnSpPr/>
          <p:nvPr>
            <p:custDataLst>
              <p:tags r:id="rId9"/>
            </p:custDataLst>
          </p:nvPr>
        </p:nvCxnSpPr>
        <p:spPr>
          <a:xfrm flipV="1">
            <a:off x="5358045" y="1313765"/>
            <a:ext cx="0" cy="418546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zövegdoboz 22"/>
          <p:cNvSpPr txBox="1"/>
          <p:nvPr>
            <p:custDataLst>
              <p:tags r:id="rId10"/>
            </p:custDataLst>
          </p:nvPr>
        </p:nvSpPr>
        <p:spPr>
          <a:xfrm>
            <a:off x="3377825" y="1493785"/>
            <a:ext cx="1620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dirty="0" smtClean="0">
                <a:solidFill>
                  <a:schemeClr val="accent1"/>
                </a:solidFill>
              </a:rPr>
              <a:t>ÁTLAG KÖRÜLI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4" name="Szövegdoboz 23"/>
          <p:cNvSpPr txBox="1"/>
          <p:nvPr>
            <p:custDataLst>
              <p:tags r:id="rId11"/>
            </p:custDataLst>
          </p:nvPr>
        </p:nvSpPr>
        <p:spPr>
          <a:xfrm>
            <a:off x="5808095" y="1448780"/>
            <a:ext cx="16201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dirty="0" smtClean="0">
                <a:solidFill>
                  <a:schemeClr val="accent1"/>
                </a:solidFill>
              </a:rPr>
              <a:t>ÁTLAG ALATTI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26" name="Text Box 1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6525" y="6523865"/>
            <a:ext cx="6256338" cy="2880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b="0" dirty="0" smtClean="0"/>
              <a:t>Forrás: Eurostat</a:t>
            </a:r>
          </a:p>
          <a:p>
            <a:pPr defTabSz="912813">
              <a:lnSpc>
                <a:spcPct val="70000"/>
              </a:lnSpc>
            </a:pPr>
            <a:r>
              <a:rPr lang="hu-HU" sz="900" dirty="0" smtClean="0"/>
              <a:t>CEE : Visegrádi országok és Románia illetve Bulgária</a:t>
            </a:r>
            <a:endParaRPr lang="en-GB" sz="900" b="0" dirty="0"/>
          </a:p>
        </p:txBody>
      </p:sp>
    </p:spTree>
    <p:extLst>
      <p:ext uri="{BB962C8B-B14F-4D97-AF65-F5344CB8AC3E}">
        <p14:creationId xmlns:p14="http://schemas.microsoft.com/office/powerpoint/2010/main" val="3541638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331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485" name="think-cell Slide" r:id="rId32" imgW="0" imgH="0" progId="">
                  <p:embed/>
                </p:oleObj>
              </mc:Choice>
              <mc:Fallback>
                <p:oleObj name="think-cell Slide" r:id="rId3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/>
          <p:cNvSpPr/>
          <p:nvPr>
            <p:custDataLst>
              <p:tags r:id="rId3"/>
            </p:custDataLst>
          </p:nvPr>
        </p:nvSpPr>
        <p:spPr bwMode="auto">
          <a:xfrm>
            <a:off x="29682" y="-28347"/>
            <a:ext cx="99386" cy="215444"/>
          </a:xfrm>
          <a:prstGeom prst="rect">
            <a:avLst/>
          </a:prstGeom>
          <a:solidFill>
            <a:scrgbClr r="0" g="0" b="0"/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hu-HU" sz="1000" b="1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24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5126" name="Rectangle 2"/>
          <p:cNvSpPr>
            <a:spLocks noGrp="1" noChangeArrowheads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767535" y="115888"/>
            <a:ext cx="9135292" cy="468312"/>
          </a:xfrm>
        </p:spPr>
        <p:txBody>
          <a:bodyPr/>
          <a:lstStyle/>
          <a:p>
            <a:pPr eaLnBrk="1" hangingPunct="1"/>
            <a:r>
              <a:rPr lang="hu-HU" sz="1800" dirty="0" smtClean="0"/>
              <a:t>Az ok</a:t>
            </a:r>
            <a:r>
              <a:rPr lang="hu-HU" sz="1800" dirty="0"/>
              <a:t>: a tőkevonzó képesség drasztikus </a:t>
            </a:r>
            <a:r>
              <a:rPr lang="hu-HU" sz="1800" dirty="0" smtClean="0"/>
              <a:t>romlása. A </a:t>
            </a:r>
            <a:r>
              <a:rPr lang="hu-HU" sz="1800" dirty="0" err="1" smtClean="0"/>
              <a:t>Német-Magyar</a:t>
            </a:r>
            <a:r>
              <a:rPr lang="hu-HU" sz="1800" dirty="0" smtClean="0"/>
              <a:t> </a:t>
            </a:r>
            <a:r>
              <a:rPr lang="hu-HU" sz="1800" dirty="0" smtClean="0"/>
              <a:t>Iparkamara </a:t>
            </a:r>
            <a:r>
              <a:rPr lang="hu-HU" sz="1800" dirty="0" smtClean="0"/>
              <a:t>felmérése szerint a 4. helyről a 10-re estünk vissza 2006és 2012 között</a:t>
            </a:r>
            <a:endParaRPr lang="en-GB" sz="1800" dirty="0" smtClean="0"/>
          </a:p>
        </p:txBody>
      </p:sp>
      <p:sp>
        <p:nvSpPr>
          <p:cNvPr id="5134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450" y="6452226"/>
            <a:ext cx="6256338" cy="352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  <a:spcBef>
                <a:spcPts val="0"/>
              </a:spcBef>
              <a:spcAft>
                <a:spcPts val="500"/>
              </a:spcAft>
            </a:pPr>
            <a:r>
              <a:rPr lang="hu-HU" sz="900" dirty="0" smtClean="0"/>
              <a:t>Forrás: </a:t>
            </a:r>
            <a:r>
              <a:rPr lang="hu-HU" sz="900" dirty="0" err="1" smtClean="0"/>
              <a:t>Német-Magyar</a:t>
            </a:r>
            <a:r>
              <a:rPr lang="hu-HU" sz="900" dirty="0" smtClean="0"/>
              <a:t> Ipari és Kereskedelmi Kamara, MNB</a:t>
            </a:r>
          </a:p>
          <a:p>
            <a:pPr defTabSz="912813">
              <a:lnSpc>
                <a:spcPct val="70000"/>
              </a:lnSpc>
              <a:spcBef>
                <a:spcPts val="0"/>
              </a:spcBef>
              <a:spcAft>
                <a:spcPts val="500"/>
              </a:spcAft>
            </a:pPr>
            <a:r>
              <a:rPr lang="hu-HU" sz="900" dirty="0" smtClean="0"/>
              <a:t>*nagyon elégedetlen és elégedetlen összevonva</a:t>
            </a:r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3" name="Téglalap 52"/>
          <p:cNvSpPr/>
          <p:nvPr>
            <p:custDataLst>
              <p:tags r:id="rId10"/>
            </p:custDataLst>
          </p:nvPr>
        </p:nvSpPr>
        <p:spPr>
          <a:xfrm>
            <a:off x="137466" y="720024"/>
            <a:ext cx="4680520" cy="576064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</a:pPr>
            <a:endParaRPr lang="hu-H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Téglalap 20"/>
          <p:cNvSpPr/>
          <p:nvPr>
            <p:custDataLst>
              <p:tags r:id="rId11"/>
            </p:custDataLst>
          </p:nvPr>
        </p:nvSpPr>
        <p:spPr>
          <a:xfrm>
            <a:off x="4998005" y="728700"/>
            <a:ext cx="4680520" cy="5760641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108000" rtlCol="0" anchor="t"/>
          <a:lstStyle/>
          <a:p>
            <a:pPr marL="342900" indent="-342900">
              <a:spcAft>
                <a:spcPts val="0"/>
              </a:spcAft>
              <a:buFont typeface="+mj-lt"/>
              <a:buAutoNum type="arabicPeriod"/>
            </a:pPr>
            <a:endParaRPr lang="hu-H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Text Box 2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2470" y="818710"/>
            <a:ext cx="463551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800" b="1" dirty="0" smtClean="0">
                <a:solidFill>
                  <a:schemeClr val="accent4">
                    <a:lumMod val="50000"/>
                  </a:schemeClr>
                </a:solidFill>
              </a:rPr>
              <a:t>A gazdaságpolitika kiszámíthatósága:  </a:t>
            </a:r>
          </a:p>
          <a:p>
            <a:pPr marL="342900" indent="-342900">
              <a:buFont typeface="Arial" pitchFamily="34" charset="0"/>
              <a:buChar char="•"/>
              <a:defRPr/>
            </a:pPr>
            <a:r>
              <a:rPr lang="hu-HU" sz="1800" b="1" dirty="0" smtClean="0">
                <a:solidFill>
                  <a:srgbClr val="000000"/>
                </a:solidFill>
              </a:rPr>
              <a:t>soha nem látott elégedetlenség, 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hu-HU" sz="1800" b="1" dirty="0" smtClean="0">
                <a:solidFill>
                  <a:srgbClr val="000000"/>
                </a:solidFill>
              </a:rPr>
              <a:t>1. számú megoldandó probléma ismét</a:t>
            </a:r>
            <a:endParaRPr lang="en-GB" sz="1800" dirty="0" smtClean="0">
              <a:solidFill>
                <a:srgbClr val="000000"/>
              </a:solidFill>
            </a:endParaRPr>
          </a:p>
        </p:txBody>
      </p:sp>
      <p:cxnSp>
        <p:nvCxnSpPr>
          <p:cNvPr id="7" name="Egyenes összekötő 6"/>
          <p:cNvCxnSpPr/>
          <p:nvPr>
            <p:custDataLst>
              <p:tags r:id="rId13"/>
            </p:custDataLst>
          </p:nvPr>
        </p:nvCxnSpPr>
        <p:spPr bwMode="gray">
          <a:xfrm>
            <a:off x="773113" y="818710"/>
            <a:ext cx="2606675" cy="0"/>
          </a:xfrm>
          <a:prstGeom prst="line">
            <a:avLst/>
          </a:prstGeom>
          <a:solidFill>
            <a:srgbClr val="006649"/>
          </a:solidFill>
          <a:ln w="3175" cap="flat" cmpd="sng" algn="ctr">
            <a:solidFill>
              <a:srgbClr val="C0C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89" name="Objektum 188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41343383"/>
              </p:ext>
            </p:extLst>
          </p:nvPr>
        </p:nvGraphicFramePr>
        <p:xfrm>
          <a:off x="227475" y="2393885"/>
          <a:ext cx="4410490" cy="40416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486" name="Diagram" r:id="rId33" imgW="3257550" imgH="1838325" progId="MSGraph.Chart.8">
                  <p:embed followColorScheme="full"/>
                </p:oleObj>
              </mc:Choice>
              <mc:Fallback>
                <p:oleObj name="Diagram" r:id="rId33" imgW="3257550" imgH="183832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7475" y="2393885"/>
                        <a:ext cx="4410490" cy="404167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églalap 37"/>
          <p:cNvSpPr/>
          <p:nvPr>
            <p:custDataLst>
              <p:tags r:id="rId15"/>
            </p:custDataLst>
          </p:nvPr>
        </p:nvSpPr>
        <p:spPr bwMode="auto">
          <a:xfrm>
            <a:off x="2355056" y="4737410"/>
            <a:ext cx="7445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fld id="{2574003B-4FDA-43FB-AE67-9655344A23F7}" type="datetime'''''''el''''é''''g''''''e''d''''e''''''''t''''l''''''''en*'''">
              <a:rPr lang="en-US" sz="1600" b="1">
                <a:solidFill>
                  <a:srgbClr val="C30C3E"/>
                </a:solidFill>
              </a:rPr>
              <a:pPr/>
              <a:t>elégedetlen*</a:t>
            </a:fld>
            <a:endParaRPr lang="hu-HU" sz="1600" b="1" dirty="0">
              <a:solidFill>
                <a:srgbClr val="C30C3E"/>
              </a:solidFill>
              <a:latin typeface="Arial"/>
              <a:sym typeface="Arial"/>
            </a:endParaRPr>
          </a:p>
        </p:txBody>
      </p:sp>
      <p:sp>
        <p:nvSpPr>
          <p:cNvPr id="36" name="Téglalap 35"/>
          <p:cNvSpPr/>
          <p:nvPr>
            <p:custDataLst>
              <p:tags r:id="rId16"/>
            </p:custDataLst>
          </p:nvPr>
        </p:nvSpPr>
        <p:spPr bwMode="auto">
          <a:xfrm>
            <a:off x="3180497" y="6094530"/>
            <a:ext cx="737388" cy="2173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/>
            <a:fld id="{0088DCD3-21D9-40D9-9C15-629502A1D25C}" type="datetime'''''2''''''''''''''''''''''''''''''''''''''0''12'''''">
              <a:rPr lang="en-US" sz="2000" b="1">
                <a:solidFill>
                  <a:schemeClr val="tx1"/>
                </a:solidFill>
              </a:rPr>
              <a:pPr algn="ctr"/>
              <a:t>2012</a:t>
            </a:fld>
            <a:endParaRPr lang="hu-HU" sz="20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55" name="Téglalap 154"/>
          <p:cNvSpPr/>
          <p:nvPr>
            <p:custDataLst>
              <p:tags r:id="rId17"/>
            </p:custDataLst>
          </p:nvPr>
        </p:nvSpPr>
        <p:spPr bwMode="gray">
          <a:xfrm>
            <a:off x="3473450" y="3744035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rtlCol="0" anchor="ctr">
            <a:noAutofit/>
          </a:bodyPr>
          <a:lstStyle/>
          <a:p>
            <a:pPr algn="ctr"/>
            <a:fld id="{5BBC6B87-1A56-467E-BD4D-BAA299FDCAE5}" type="datetime'''''''8''''''''''''''''''''''''7%'''''''''''''">
              <a:rPr lang="en-US" sz="2000"/>
              <a:pPr algn="ctr"/>
              <a:t>87%</a:t>
            </a:fld>
            <a:endParaRPr lang="hu-HU" sz="2000" dirty="0">
              <a:latin typeface="Arial"/>
              <a:sym typeface="Arial"/>
            </a:endParaRPr>
          </a:p>
        </p:txBody>
      </p:sp>
      <p:sp>
        <p:nvSpPr>
          <p:cNvPr id="253" name="Téglalap 252"/>
          <p:cNvSpPr/>
          <p:nvPr>
            <p:custDataLst>
              <p:tags r:id="rId18"/>
            </p:custDataLst>
          </p:nvPr>
        </p:nvSpPr>
        <p:spPr bwMode="auto">
          <a:xfrm>
            <a:off x="1423895" y="6105760"/>
            <a:ext cx="737388" cy="2173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/>
            <a:fld id="{4DBBCF1B-FF0E-4975-8162-CDF33751FECE}" type="datetime'2''''''''0''''''''''''''''''06'''''''''''''''''''''''''''''''">
              <a:rPr lang="en-US" sz="2000" b="1">
                <a:solidFill>
                  <a:schemeClr val="tx1"/>
                </a:solidFill>
              </a:rPr>
              <a:pPr algn="ctr"/>
              <a:t>2006</a:t>
            </a:fld>
            <a:endParaRPr lang="hu-HU" sz="20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54" name="Téglalap 153"/>
          <p:cNvSpPr/>
          <p:nvPr>
            <p:custDataLst>
              <p:tags r:id="rId19"/>
            </p:custDataLst>
          </p:nvPr>
        </p:nvSpPr>
        <p:spPr bwMode="gray">
          <a:xfrm>
            <a:off x="1667635" y="4682170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rtlCol="0" anchor="ctr">
            <a:noAutofit/>
          </a:bodyPr>
          <a:lstStyle/>
          <a:p>
            <a:pPr algn="ctr"/>
            <a:fld id="{0EADB71D-CC29-4E8D-B144-DF19E283BEEE}" type="datetime'''''''''''''''''''''4''''5''%'''''''''''''">
              <a:rPr lang="en-US" sz="2000"/>
              <a:pPr algn="ctr"/>
              <a:t>45%</a:t>
            </a:fld>
            <a:endParaRPr lang="hu-HU" sz="2000" dirty="0">
              <a:latin typeface="Arial"/>
              <a:sym typeface="Arial"/>
            </a:endParaRPr>
          </a:p>
        </p:txBody>
      </p:sp>
      <p:cxnSp>
        <p:nvCxnSpPr>
          <p:cNvPr id="12" name="Egyenes összekötő 11"/>
          <p:cNvCxnSpPr/>
          <p:nvPr>
            <p:custDataLst>
              <p:tags r:id="rId20"/>
            </p:custDataLst>
          </p:nvPr>
        </p:nvCxnSpPr>
        <p:spPr bwMode="gray">
          <a:xfrm>
            <a:off x="5680075" y="818710"/>
            <a:ext cx="2606675" cy="0"/>
          </a:xfrm>
          <a:prstGeom prst="line">
            <a:avLst/>
          </a:prstGeom>
          <a:solidFill>
            <a:srgbClr val="006649"/>
          </a:solidFill>
          <a:ln w="3175" cap="flat" cmpd="sng" algn="ctr">
            <a:solidFill>
              <a:srgbClr val="C0C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65" name="Objektum 164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97526393"/>
              </p:ext>
            </p:extLst>
          </p:nvPr>
        </p:nvGraphicFramePr>
        <p:xfrm>
          <a:off x="5133020" y="2568600"/>
          <a:ext cx="4511044" cy="3754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487" name="Diagram" r:id="rId35" imgW="3257550" imgH="1838325" progId="MSGraph.Chart.8">
                  <p:embed followColorScheme="full"/>
                </p:oleObj>
              </mc:Choice>
              <mc:Fallback>
                <p:oleObj name="Diagram" r:id="rId35" imgW="3257550" imgH="183832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33020" y="2568600"/>
                        <a:ext cx="4511044" cy="3754262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" name="Téglalap 171"/>
          <p:cNvSpPr/>
          <p:nvPr>
            <p:custDataLst>
              <p:tags r:id="rId22"/>
            </p:custDataLst>
          </p:nvPr>
        </p:nvSpPr>
        <p:spPr bwMode="auto">
          <a:xfrm>
            <a:off x="7285878" y="4889810"/>
            <a:ext cx="7445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fld id="{4F91EDEC-91C3-48E9-9B00-F71A93C306C6}" type="datetime'e''l''''''''''ég''edet''''''l''''''''''en''*'">
              <a:rPr lang="en-US" sz="1400" b="1">
                <a:solidFill>
                  <a:srgbClr val="C30C3E"/>
                </a:solidFill>
              </a:rPr>
              <a:pPr/>
              <a:t>elégedetlen*</a:t>
            </a:fld>
            <a:endParaRPr lang="hu-HU" sz="1400" b="1" dirty="0">
              <a:solidFill>
                <a:srgbClr val="C30C3E"/>
              </a:solidFill>
              <a:latin typeface="Arial"/>
              <a:sym typeface="Arial"/>
            </a:endParaRPr>
          </a:p>
        </p:txBody>
      </p:sp>
      <p:sp>
        <p:nvSpPr>
          <p:cNvPr id="171" name="Téglalap 170"/>
          <p:cNvSpPr/>
          <p:nvPr>
            <p:custDataLst>
              <p:tags r:id="rId23"/>
            </p:custDataLst>
          </p:nvPr>
        </p:nvSpPr>
        <p:spPr bwMode="auto">
          <a:xfrm>
            <a:off x="6741051" y="2681300"/>
            <a:ext cx="14874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fld id="{1121AA43-5725-4D26-846A-FC039D93E3C0}" type="datetime's''e''''mle''ge''''''''''s v''agy'' ''elég''''''''edet''t'''">
              <a:rPr lang="en-US" sz="1600" b="1">
                <a:solidFill>
                  <a:schemeClr val="tx2"/>
                </a:solidFill>
              </a:rPr>
              <a:pPr/>
              <a:t>semleges vagy elégedett</a:t>
            </a:fld>
            <a:endParaRPr lang="hu-HU" sz="1600" b="1" dirty="0">
              <a:solidFill>
                <a:schemeClr val="tx2"/>
              </a:solidFill>
              <a:latin typeface="Arial"/>
              <a:sym typeface="Arial"/>
            </a:endParaRPr>
          </a:p>
        </p:txBody>
      </p:sp>
      <p:sp>
        <p:nvSpPr>
          <p:cNvPr id="168" name="Téglalap 167"/>
          <p:cNvSpPr/>
          <p:nvPr>
            <p:custDataLst>
              <p:tags r:id="rId24"/>
            </p:custDataLst>
          </p:nvPr>
        </p:nvSpPr>
        <p:spPr bwMode="auto">
          <a:xfrm>
            <a:off x="8258835" y="6039290"/>
            <a:ext cx="6096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/>
            <a:fld id="{2FA8930F-F466-42BF-9AED-9F0AA8DB4436}" type="datetime'''2''''''''''''0''''''''''''''''''''''1''''''2'''''''''''">
              <a:rPr lang="en-US" sz="2000" b="1">
                <a:solidFill>
                  <a:schemeClr val="tx1"/>
                </a:solidFill>
              </a:rPr>
              <a:pPr algn="ctr"/>
              <a:t>2012</a:t>
            </a:fld>
            <a:endParaRPr lang="hu-HU" sz="20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58" name="Téglalap 157"/>
          <p:cNvSpPr/>
          <p:nvPr>
            <p:custDataLst>
              <p:tags r:id="rId25"/>
            </p:custDataLst>
          </p:nvPr>
        </p:nvSpPr>
        <p:spPr bwMode="gray">
          <a:xfrm>
            <a:off x="8419966" y="4284095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rtlCol="0" anchor="ctr">
            <a:noAutofit/>
          </a:bodyPr>
          <a:lstStyle/>
          <a:p>
            <a:pPr algn="ctr"/>
            <a:fld id="{2B8D95A6-7509-40DD-BF9E-18D651900D40}" type="datetime'''''''''6''''0''''''''''''''%'''''''''''''''''''''''">
              <a:rPr lang="en-US" sz="2000"/>
              <a:pPr algn="ctr"/>
              <a:t>60%</a:t>
            </a:fld>
            <a:endParaRPr lang="hu-HU" sz="2000" dirty="0">
              <a:latin typeface="Arial"/>
              <a:sym typeface="Arial"/>
            </a:endParaRPr>
          </a:p>
        </p:txBody>
      </p:sp>
      <p:sp>
        <p:nvSpPr>
          <p:cNvPr id="167" name="Téglalap 166"/>
          <p:cNvSpPr/>
          <p:nvPr>
            <p:custDataLst>
              <p:tags r:id="rId26"/>
            </p:custDataLst>
          </p:nvPr>
        </p:nvSpPr>
        <p:spPr bwMode="auto">
          <a:xfrm>
            <a:off x="6507035" y="6039290"/>
            <a:ext cx="65672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rtlCol="0" anchor="t">
            <a:noAutofit/>
          </a:bodyPr>
          <a:lstStyle/>
          <a:p>
            <a:pPr algn="ctr"/>
            <a:fld id="{B167E2CC-21BB-452C-A008-CF6991D9E715}" type="datetime'''''''''''''2''''0''''''''''''0''''6'''''''''''''''''''''">
              <a:rPr lang="en-US" sz="2000" b="1">
                <a:solidFill>
                  <a:schemeClr val="tx1"/>
                </a:solidFill>
              </a:rPr>
              <a:pPr algn="ctr"/>
              <a:t>2006</a:t>
            </a:fld>
            <a:endParaRPr lang="hu-HU" sz="2000" b="1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56" name="Téglalap 155"/>
          <p:cNvSpPr/>
          <p:nvPr>
            <p:custDataLst>
              <p:tags r:id="rId27"/>
            </p:custDataLst>
          </p:nvPr>
        </p:nvSpPr>
        <p:spPr bwMode="gray">
          <a:xfrm>
            <a:off x="6681062" y="5184195"/>
            <a:ext cx="28733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rtlCol="0" anchor="ctr">
            <a:noAutofit/>
          </a:bodyPr>
          <a:lstStyle/>
          <a:p>
            <a:pPr algn="ctr"/>
            <a:fld id="{01C4ED12-E91E-4BD7-B866-2D6CA6BC8F5B}" type="datetime'2''''''''''''''''''''''''''''''''''''''''''6''''%'''''''">
              <a:rPr lang="en-US" sz="2000"/>
              <a:pPr algn="ctr"/>
              <a:t>26%</a:t>
            </a:fld>
            <a:endParaRPr lang="hu-HU" sz="2000" dirty="0">
              <a:latin typeface="Arial"/>
              <a:sym typeface="Arial"/>
            </a:endParaRPr>
          </a:p>
        </p:txBody>
      </p:sp>
      <p:sp>
        <p:nvSpPr>
          <p:cNvPr id="50" name="Text Box 23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043010" y="818710"/>
            <a:ext cx="463551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2000" b="1" dirty="0" smtClean="0">
                <a:solidFill>
                  <a:schemeClr val="accent4">
                    <a:lumMod val="50000"/>
                  </a:schemeClr>
                </a:solidFill>
              </a:rPr>
              <a:t>Jogbiztonság: 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hu-HU" sz="2000" b="1" dirty="0" smtClean="0">
                <a:solidFill>
                  <a:srgbClr val="000000"/>
                </a:solidFill>
              </a:rPr>
              <a:t>soha nem látott elégedetlenség, 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hu-HU" sz="2000" b="1" dirty="0" smtClean="0">
                <a:solidFill>
                  <a:srgbClr val="000000"/>
                </a:solidFill>
              </a:rPr>
              <a:t>2. számú megoldandó probléma </a:t>
            </a:r>
          </a:p>
          <a:p>
            <a:pPr marL="228600" indent="-228600">
              <a:buFont typeface="Arial" pitchFamily="34" charset="0"/>
              <a:buChar char="•"/>
              <a:defRPr/>
            </a:pPr>
            <a:r>
              <a:rPr lang="hu-HU" sz="2000" b="1" dirty="0" smtClean="0">
                <a:solidFill>
                  <a:srgbClr val="000000"/>
                </a:solidFill>
              </a:rPr>
              <a:t>2010 előtt </a:t>
            </a:r>
            <a:r>
              <a:rPr lang="hu-HU" sz="1800" b="1" dirty="0" smtClean="0">
                <a:solidFill>
                  <a:srgbClr val="000000"/>
                </a:solidFill>
              </a:rPr>
              <a:t>nem</a:t>
            </a:r>
            <a:r>
              <a:rPr lang="hu-HU" sz="2000" b="1" dirty="0" smtClean="0">
                <a:solidFill>
                  <a:srgbClr val="000000"/>
                </a:solidFill>
              </a:rPr>
              <a:t> volt az első 10-ben</a:t>
            </a:r>
            <a:endParaRPr lang="en-GB" sz="2000" dirty="0" smtClean="0">
              <a:solidFill>
                <a:srgbClr val="000000"/>
              </a:solidFill>
            </a:endParaRPr>
          </a:p>
        </p:txBody>
      </p:sp>
      <p:sp>
        <p:nvSpPr>
          <p:cNvPr id="54" name="Téglalap 53"/>
          <p:cNvSpPr/>
          <p:nvPr>
            <p:custDataLst>
              <p:tags r:id="rId29"/>
            </p:custDataLst>
          </p:nvPr>
        </p:nvSpPr>
        <p:spPr bwMode="auto">
          <a:xfrm>
            <a:off x="2129631" y="2528900"/>
            <a:ext cx="14874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rtlCol="0" anchor="ctr">
            <a:noAutofit/>
          </a:bodyPr>
          <a:lstStyle/>
          <a:p>
            <a:fld id="{1121AA43-5725-4D26-846A-FC039D93E3C0}" type="datetime's''e''''mle''ge''''''''''s v''agy'' ''elég''''''''edet''t'''">
              <a:rPr lang="en-US" sz="1600" b="1">
                <a:solidFill>
                  <a:schemeClr val="tx2"/>
                </a:solidFill>
              </a:rPr>
              <a:pPr/>
              <a:t>semleges vagy elégedett</a:t>
            </a:fld>
            <a:endParaRPr lang="hu-HU" sz="1600" b="1" dirty="0">
              <a:solidFill>
                <a:schemeClr val="tx2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6617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100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138465" y="6652052"/>
            <a:ext cx="765175" cy="287338"/>
          </a:xfrm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25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b="0" dirty="0"/>
          </a:p>
        </p:txBody>
      </p:sp>
      <p:sp>
        <p:nvSpPr>
          <p:cNvPr id="19" name="Lekerekített téglalap 18"/>
          <p:cNvSpPr/>
          <p:nvPr>
            <p:custDataLst>
              <p:tags r:id="rId7"/>
            </p:custDataLst>
          </p:nvPr>
        </p:nvSpPr>
        <p:spPr bwMode="auto">
          <a:xfrm>
            <a:off x="2387715" y="4089074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2013-ban elérheti a gazdasági növekedés az 1%-ot,de a középtávú kilátások nem rózsásak</a:t>
            </a:r>
          </a:p>
        </p:txBody>
      </p:sp>
      <p:sp>
        <p:nvSpPr>
          <p:cNvPr id="12" name="Lekerekített téglalap 11"/>
          <p:cNvSpPr/>
          <p:nvPr>
            <p:custDataLst>
              <p:tags r:id="rId8"/>
            </p:custDataLst>
          </p:nvPr>
        </p:nvSpPr>
        <p:spPr bwMode="auto">
          <a:xfrm>
            <a:off x="611895" y="2303875"/>
            <a:ext cx="900100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Magyarország</a:t>
            </a:r>
            <a:endParaRPr lang="en-US" sz="1800" b="1" dirty="0"/>
          </a:p>
        </p:txBody>
      </p:sp>
      <p:sp>
        <p:nvSpPr>
          <p:cNvPr id="14" name="Lekerekített téglalap 13"/>
          <p:cNvSpPr/>
          <p:nvPr>
            <p:custDataLst>
              <p:tags r:id="rId9"/>
            </p:custDataLst>
          </p:nvPr>
        </p:nvSpPr>
        <p:spPr bwMode="auto">
          <a:xfrm>
            <a:off x="611895" y="683695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környezet madártávlatból: sok megoldatlan probléma, óriási pénzbőség</a:t>
            </a:r>
          </a:p>
        </p:txBody>
      </p:sp>
      <p:sp>
        <p:nvSpPr>
          <p:cNvPr id="15" name="Lekerekített téglalap 14"/>
          <p:cNvSpPr/>
          <p:nvPr>
            <p:custDataLst>
              <p:tags r:id="rId10"/>
            </p:custDataLst>
          </p:nvPr>
        </p:nvSpPr>
        <p:spPr bwMode="auto">
          <a:xfrm>
            <a:off x="2387715" y="315897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/>
              <a:t>Az egyensúly helyreállt, a belső kockázatok jelentősen csökkentek. </a:t>
            </a:r>
            <a:endParaRPr lang="hu-HU" sz="1800" b="1" dirty="0" smtClean="0">
              <a:latin typeface="Arial" charset="0"/>
            </a:endParaRPr>
          </a:p>
        </p:txBody>
      </p:sp>
      <p:sp>
        <p:nvSpPr>
          <p:cNvPr id="16" name="Lekerekített téglalap 15"/>
          <p:cNvSpPr/>
          <p:nvPr>
            <p:custDataLst>
              <p:tags r:id="rId11"/>
            </p:custDataLst>
          </p:nvPr>
        </p:nvSpPr>
        <p:spPr bwMode="auto">
          <a:xfrm>
            <a:off x="611895" y="147405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környezet: </a:t>
            </a:r>
            <a:r>
              <a:rPr lang="hu-HU" sz="1800" b="1" dirty="0" smtClean="0"/>
              <a:t>új részvénypiaci csúcsok, az </a:t>
            </a:r>
            <a:r>
              <a:rPr lang="hu-HU" sz="1800" b="1" dirty="0"/>
              <a:t>elmúlt </a:t>
            </a:r>
            <a:r>
              <a:rPr lang="hu-HU" sz="1800" b="1" dirty="0" smtClean="0"/>
              <a:t>negyedévben tovább romlottak a növekedési kilátások Európában </a:t>
            </a:r>
            <a:endParaRPr lang="hu-HU" sz="1800" b="1" dirty="0"/>
          </a:p>
        </p:txBody>
      </p:sp>
      <p:sp>
        <p:nvSpPr>
          <p:cNvPr id="17" name="Lekerekített téglalap 16"/>
          <p:cNvSpPr/>
          <p:nvPr>
            <p:custDataLst>
              <p:tags r:id="rId12"/>
            </p:custDataLst>
          </p:nvPr>
        </p:nvSpPr>
        <p:spPr bwMode="auto">
          <a:xfrm>
            <a:off x="2387715" y="5049180"/>
            <a:ext cx="7225180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Tartós maradhat az alacsony hozamkörnyezet. A megszokott hozamok eléréséhez nagyobb kockázatot kell vállalni</a:t>
            </a:r>
          </a:p>
        </p:txBody>
      </p:sp>
    </p:spTree>
    <p:extLst>
      <p:ext uri="{BB962C8B-B14F-4D97-AF65-F5344CB8AC3E}">
        <p14:creationId xmlns:p14="http://schemas.microsoft.com/office/powerpoint/2010/main" val="237648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37465" y="638690"/>
            <a:ext cx="9541059" cy="5618284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2490" y="773705"/>
            <a:ext cx="8820980" cy="53555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26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26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856862" y="115888"/>
            <a:ext cx="8866576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Monetáris politika: a cél alá süllyedő infláció lehetővé teszi az </a:t>
            </a:r>
            <a:br>
              <a:rPr lang="hu-HU" sz="2000" dirty="0" smtClean="0"/>
            </a:br>
            <a:r>
              <a:rPr lang="hu-HU" sz="2000" dirty="0" smtClean="0"/>
              <a:t>alapkamat </a:t>
            </a:r>
            <a:r>
              <a:rPr lang="hu-HU" sz="2000" dirty="0" smtClean="0"/>
              <a:t>csökkentését…</a:t>
            </a:r>
            <a:endParaRPr lang="en-US" sz="20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6378060"/>
            <a:ext cx="7425654" cy="382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</a:t>
            </a: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sp>
        <p:nvSpPr>
          <p:cNvPr id="26" name="Text 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22630" y="773705"/>
            <a:ext cx="66157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Infláció és alapkamat 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000000"/>
                </a:solidFill>
              </a:rPr>
              <a:t>%, saját előrejelzés)</a:t>
            </a:r>
          </a:p>
        </p:txBody>
      </p:sp>
      <p:pic>
        <p:nvPicPr>
          <p:cNvPr id="6151254" name="Picture 8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364" y="1088740"/>
            <a:ext cx="7737259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03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37465" y="638690"/>
            <a:ext cx="9541059" cy="5618284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2490" y="773705"/>
            <a:ext cx="8820980" cy="535559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54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27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856862" y="115888"/>
            <a:ext cx="8866576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Monetáris politika: </a:t>
            </a:r>
            <a:r>
              <a:rPr lang="hu-HU" sz="2000" dirty="0" smtClean="0"/>
              <a:t>a </a:t>
            </a:r>
            <a:r>
              <a:rPr lang="hu-HU" sz="2000" dirty="0" smtClean="0"/>
              <a:t>hosszú hozamok </a:t>
            </a:r>
            <a:r>
              <a:rPr lang="hu-HU" sz="2000" dirty="0" smtClean="0"/>
              <a:t>2005 óta nem </a:t>
            </a:r>
            <a:r>
              <a:rPr lang="hu-HU" sz="2000" dirty="0" smtClean="0"/>
              <a:t>látott </a:t>
            </a:r>
            <a:r>
              <a:rPr lang="hu-HU" sz="2000" dirty="0" smtClean="0"/>
              <a:t>mélységekbe </a:t>
            </a:r>
            <a:r>
              <a:rPr lang="hu-HU" sz="2000" dirty="0" smtClean="0"/>
              <a:t>süllyedtek</a:t>
            </a:r>
            <a:endParaRPr lang="en-US" sz="2000" dirty="0" smtClean="0"/>
          </a:p>
        </p:txBody>
      </p:sp>
      <p:sp>
        <p:nvSpPr>
          <p:cNvPr id="6164" name="Text Box 1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6378060"/>
            <a:ext cx="7425654" cy="382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250" tIns="45625" rIns="91250" bIns="45625">
            <a:spAutoFit/>
          </a:bodyPr>
          <a:lstStyle/>
          <a:p>
            <a:pPr defTabSz="912813">
              <a:lnSpc>
                <a:spcPct val="70000"/>
              </a:lnSpc>
            </a:pPr>
            <a:r>
              <a:rPr lang="hu-HU" sz="900" dirty="0" smtClean="0">
                <a:solidFill>
                  <a:srgbClr val="FFFFFF"/>
                </a:solidFill>
              </a:rPr>
              <a:t>Forrás</a:t>
            </a:r>
            <a:r>
              <a:rPr lang="en-US" sz="900" dirty="0" smtClean="0">
                <a:solidFill>
                  <a:srgbClr val="FFFFFF"/>
                </a:solidFill>
              </a:rPr>
              <a:t>: </a:t>
            </a:r>
            <a:r>
              <a:rPr lang="hu-HU" sz="900" dirty="0" smtClean="0">
                <a:solidFill>
                  <a:srgbClr val="FFFFFF"/>
                </a:solidFill>
              </a:rPr>
              <a:t>MNB</a:t>
            </a:r>
            <a:r>
              <a:rPr lang="en-US" sz="900" dirty="0" smtClean="0">
                <a:solidFill>
                  <a:srgbClr val="FFFFFF"/>
                </a:solidFill>
              </a:rPr>
              <a:t>,</a:t>
            </a:r>
          </a:p>
          <a:p>
            <a:pPr defTabSz="912813">
              <a:lnSpc>
                <a:spcPct val="70000"/>
              </a:lnSpc>
            </a:pPr>
            <a:endParaRPr lang="en-US" sz="900" dirty="0" smtClean="0">
              <a:solidFill>
                <a:srgbClr val="FFFFFF"/>
              </a:solidFill>
            </a:endParaRPr>
          </a:p>
          <a:p>
            <a:pPr defTabSz="912813">
              <a:lnSpc>
                <a:spcPct val="70000"/>
              </a:lnSpc>
            </a:pPr>
            <a:endParaRPr lang="en-GB" sz="900" dirty="0" smtClean="0">
              <a:solidFill>
                <a:srgbClr val="FFFFFF"/>
              </a:solidFill>
            </a:endParaRPr>
          </a:p>
        </p:txBody>
      </p:sp>
      <p:pic>
        <p:nvPicPr>
          <p:cNvPr id="6163536" name="Picture 80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96" y="1089300"/>
            <a:ext cx="7733019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22630" y="773705"/>
            <a:ext cx="66157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600" b="1" dirty="0" smtClean="0">
                <a:solidFill>
                  <a:srgbClr val="000000"/>
                </a:solidFill>
              </a:rPr>
              <a:t>Árfolyam és hosszú hozam  </a:t>
            </a:r>
            <a:r>
              <a:rPr lang="en-US" sz="1600" dirty="0" smtClean="0">
                <a:solidFill>
                  <a:srgbClr val="000000"/>
                </a:solidFill>
              </a:rPr>
              <a:t>(</a:t>
            </a:r>
            <a:r>
              <a:rPr lang="hu-HU" sz="1600" dirty="0" smtClean="0">
                <a:solidFill>
                  <a:srgbClr val="000000"/>
                </a:solidFill>
              </a:rPr>
              <a:t>%)</a:t>
            </a:r>
            <a:endParaRPr lang="hu-HU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71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137463" y="638689"/>
            <a:ext cx="9541059" cy="5930865"/>
          </a:xfrm>
          <a:prstGeom prst="homePlate">
            <a:avLst>
              <a:gd name="adj" fmla="val 0"/>
            </a:avLst>
          </a:prstGeom>
          <a:solidFill>
            <a:schemeClr val="accent4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rot="10800000" lIns="91436" tIns="45718" rIns="91436" bIns="45718" anchor="ctr"/>
          <a:lstStyle/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1" name="Rectangle 9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2490" y="773705"/>
            <a:ext cx="9181020" cy="561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39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28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8"/>
            </p:custDataLst>
          </p:nvPr>
        </p:nvSpPr>
        <p:spPr>
          <a:xfrm>
            <a:off x="767534" y="115888"/>
            <a:ext cx="8955903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MNB: konzervatív az eddigi megközelítés, egyelőre nem realizálódtak a piaci aggodalmak</a:t>
            </a:r>
            <a:endParaRPr lang="en-US" sz="2000" dirty="0" smtClean="0"/>
          </a:p>
        </p:txBody>
      </p:sp>
      <p:sp>
        <p:nvSpPr>
          <p:cNvPr id="10" name="Szövegdoboz 9"/>
          <p:cNvSpPr txBox="1"/>
          <p:nvPr/>
        </p:nvSpPr>
        <p:spPr>
          <a:xfrm>
            <a:off x="362489" y="939780"/>
            <a:ext cx="8955996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 algn="just"/>
            <a:r>
              <a:rPr lang="hu-HU" sz="2000" b="0" dirty="0" smtClean="0"/>
              <a:t>3 pillér: </a:t>
            </a: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250 </a:t>
            </a:r>
            <a:r>
              <a:rPr lang="hu-HU" sz="1800" dirty="0" err="1" smtClean="0"/>
              <a:t>mrd</a:t>
            </a:r>
            <a:r>
              <a:rPr lang="hu-HU" sz="1800" dirty="0" smtClean="0"/>
              <a:t> Ft. KKV hitel-folyósításra vagy kiváltásra, jegybanki 0%-os refinanszírozással.</a:t>
            </a: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250 </a:t>
            </a:r>
            <a:r>
              <a:rPr lang="hu-HU" sz="1800" dirty="0" err="1"/>
              <a:t>mrd</a:t>
            </a:r>
            <a:r>
              <a:rPr lang="hu-HU" sz="1800" dirty="0"/>
              <a:t> Ft. KKV </a:t>
            </a:r>
            <a:r>
              <a:rPr lang="hu-HU" sz="1800" dirty="0" smtClean="0"/>
              <a:t>devizahitel-kiváltásra, </a:t>
            </a:r>
            <a:r>
              <a:rPr lang="hu-HU" sz="1800" dirty="0"/>
              <a:t>jegybanki 0%-os refinanszírozással</a:t>
            </a:r>
            <a:r>
              <a:rPr lang="hu-HU" sz="1800" dirty="0" smtClean="0"/>
              <a:t>.</a:t>
            </a: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Mintegy 3 </a:t>
            </a:r>
            <a:r>
              <a:rPr lang="hu-HU" sz="1800" dirty="0" err="1" smtClean="0"/>
              <a:t>mrd</a:t>
            </a:r>
            <a:r>
              <a:rPr lang="hu-HU" sz="1800" dirty="0" smtClean="0"/>
              <a:t> eurónyi </a:t>
            </a:r>
            <a:r>
              <a:rPr lang="hu-HU" sz="1800" dirty="0" err="1" smtClean="0"/>
              <a:t>swap</a:t>
            </a:r>
            <a:endParaRPr lang="hu-HU" sz="1800" dirty="0"/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2000" b="0" dirty="0" smtClean="0"/>
          </a:p>
          <a:p>
            <a:pPr marL="914400" lvl="1" indent="-457200" algn="just"/>
            <a:r>
              <a:rPr lang="hu-HU" sz="2000" b="0" dirty="0" smtClean="0"/>
              <a:t>Hatás: </a:t>
            </a: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b="1" dirty="0" smtClean="0"/>
              <a:t>Enyhén pozitív növekedési és hitelezési hatás</a:t>
            </a: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b="1" dirty="0" smtClean="0"/>
              <a:t>Nem gyengíti az árfolyamot,</a:t>
            </a:r>
            <a:r>
              <a:rPr lang="hu-HU" sz="1800" dirty="0" smtClean="0"/>
              <a:t> így mehet </a:t>
            </a:r>
            <a:r>
              <a:rPr lang="hu-HU" sz="1800" dirty="0"/>
              <a:t>tovább a </a:t>
            </a:r>
            <a:r>
              <a:rPr lang="hu-HU" sz="1800" dirty="0" smtClean="0"/>
              <a:t>kamatcsökkentés, mert </a:t>
            </a:r>
            <a:endParaRPr lang="hu-HU" sz="1800" b="0" dirty="0" smtClean="0"/>
          </a:p>
          <a:p>
            <a:pPr marL="1828800" lvl="3" indent="-457200" algn="just">
              <a:buFont typeface="Arial" pitchFamily="34" charset="0"/>
              <a:buChar char="•"/>
            </a:pPr>
            <a:r>
              <a:rPr lang="hu-HU" sz="1800" b="0" dirty="0" smtClean="0"/>
              <a:t>a csomag mérete mérsékelt, </a:t>
            </a:r>
          </a:p>
          <a:p>
            <a:pPr marL="1828800" lvl="3" indent="-457200" algn="just">
              <a:buFont typeface="Arial" pitchFamily="34" charset="0"/>
              <a:buChar char="•"/>
            </a:pPr>
            <a:r>
              <a:rPr lang="hu-HU" sz="1800" dirty="0" smtClean="0"/>
              <a:t>a devizatartalék felhasználás nem fenyegeti a stabilitást (most 36 </a:t>
            </a:r>
            <a:r>
              <a:rPr lang="hu-HU" sz="1800" dirty="0" err="1" smtClean="0"/>
              <a:t>mrd</a:t>
            </a:r>
            <a:r>
              <a:rPr lang="hu-HU" sz="1800" dirty="0" smtClean="0"/>
              <a:t> eurónyi devizatartaléka van az MNB-nek, de csak 28 </a:t>
            </a:r>
            <a:r>
              <a:rPr lang="hu-HU" sz="1800" dirty="0" err="1" smtClean="0"/>
              <a:t>mrd</a:t>
            </a:r>
            <a:r>
              <a:rPr lang="hu-HU" sz="1800" dirty="0" smtClean="0"/>
              <a:t> szükséges, ráadásul ez a külső adósság csökkenésével együtt gyorsan esik)</a:t>
            </a:r>
          </a:p>
          <a:p>
            <a:pPr marL="1828800" lvl="3" indent="-457200" algn="just">
              <a:buFont typeface="Arial" pitchFamily="34" charset="0"/>
              <a:buChar char="•"/>
            </a:pPr>
            <a:r>
              <a:rPr lang="hu-HU" sz="1800" b="0" dirty="0" smtClean="0"/>
              <a:t>nem bővíti a pénzmennyiséget a csomag, hanem szűkíti</a:t>
            </a:r>
          </a:p>
        </p:txBody>
      </p:sp>
    </p:spTree>
    <p:extLst>
      <p:ext uri="{BB962C8B-B14F-4D97-AF65-F5344CB8AC3E}">
        <p14:creationId xmlns:p14="http://schemas.microsoft.com/office/powerpoint/2010/main" val="427772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22530" y="80367"/>
            <a:ext cx="9231556" cy="468313"/>
          </a:xfrm>
        </p:spPr>
        <p:txBody>
          <a:bodyPr/>
          <a:lstStyle/>
          <a:p>
            <a:r>
              <a:rPr lang="hu-HU" sz="2000" dirty="0" smtClean="0"/>
              <a:t>A költségvetési hiánycsökkentés továbbra is mindenhol fékezi a gazdasági növekedést</a:t>
            </a:r>
            <a:r>
              <a:rPr lang="hu-HU" sz="2000" dirty="0"/>
              <a:t>, kivéve Japánt </a:t>
            </a:r>
            <a:endParaRPr lang="en-US" sz="2000" dirty="0" smtClean="0"/>
          </a:p>
        </p:txBody>
      </p:sp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7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1307595" y="604784"/>
            <a:ext cx="47102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600" dirty="0" smtClean="0"/>
              <a:t>Államháztartási hiány</a:t>
            </a:r>
            <a:r>
              <a:rPr lang="hu-HU" sz="1600" dirty="0"/>
              <a:t> </a:t>
            </a:r>
            <a:r>
              <a:rPr lang="en-US" sz="1600" b="0" dirty="0" smtClean="0"/>
              <a:t>(a</a:t>
            </a:r>
            <a:r>
              <a:rPr lang="hu-HU" sz="1600" b="0" dirty="0" smtClean="0"/>
              <a:t> </a:t>
            </a:r>
            <a:r>
              <a:rPr lang="en-US" sz="1600" b="0" dirty="0" smtClean="0"/>
              <a:t>GDP</a:t>
            </a:r>
            <a:r>
              <a:rPr lang="hu-HU" sz="1600" b="0" dirty="0" smtClean="0"/>
              <a:t> %-ában</a:t>
            </a:r>
            <a:r>
              <a:rPr lang="en-US" sz="1600" b="0" dirty="0" smtClean="0"/>
              <a:t>)</a:t>
            </a:r>
            <a:endParaRPr lang="en-US" sz="1600" b="0" dirty="0"/>
          </a:p>
        </p:txBody>
      </p:sp>
      <p:pic>
        <p:nvPicPr>
          <p:cNvPr id="423055" name="Picture 14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551" y="938409"/>
            <a:ext cx="7772116" cy="4496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0" y="6408806"/>
            <a:ext cx="6642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hu-HU" sz="1000" b="0" i="1" dirty="0" smtClean="0"/>
              <a:t>Forrás</a:t>
            </a:r>
            <a:r>
              <a:rPr lang="en-US" sz="1000" b="0" i="1" dirty="0" smtClean="0"/>
              <a:t>: </a:t>
            </a:r>
            <a:r>
              <a:rPr lang="hu-HU" sz="1000" b="0" i="1" dirty="0" smtClean="0"/>
              <a:t>OECD</a:t>
            </a:r>
            <a:endParaRPr lang="hu-HU" sz="1000" b="0" i="1" dirty="0" smtClean="0"/>
          </a:p>
        </p:txBody>
      </p:sp>
      <p:cxnSp>
        <p:nvCxnSpPr>
          <p:cNvPr id="6" name="Egyenes összekötő 5"/>
          <p:cNvCxnSpPr/>
          <p:nvPr/>
        </p:nvCxnSpPr>
        <p:spPr>
          <a:xfrm flipH="1">
            <a:off x="7158245" y="943338"/>
            <a:ext cx="45005" cy="39258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ia számának helye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8697ACB1-B04B-4003-850D-F84257A15DC6}" type="slidenum">
              <a:rPr lang="hu-HU" smtClean="0"/>
              <a:pPr algn="ctr">
                <a:defRPr/>
              </a:pPr>
              <a:t>2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19679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um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6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églalap 2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000">
              <a:latin typeface="Arial"/>
              <a:sym typeface="Arial"/>
            </a:endParaRPr>
          </a:p>
        </p:txBody>
      </p:sp>
      <p:sp>
        <p:nvSpPr>
          <p:cNvPr id="401413" name="Dia számának hely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7ACAD79C-C6D2-492E-89B2-2573C9AA0389}" type="slidenum">
              <a:rPr lang="en-GB" sz="1000" b="0">
                <a:solidFill>
                  <a:schemeClr val="tx1"/>
                </a:solidFill>
              </a:rPr>
              <a:pPr algn="r"/>
              <a:t>29</a:t>
            </a:fld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947555" y="2227217"/>
            <a:ext cx="805589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4800" dirty="0" smtClean="0"/>
              <a:t>Köszönöm a figyelmet!</a:t>
            </a:r>
          </a:p>
          <a:p>
            <a:pPr algn="ctr"/>
            <a:r>
              <a:rPr lang="hu-HU" sz="4800" dirty="0" smtClean="0"/>
              <a:t>		</a:t>
            </a:r>
          </a:p>
          <a:p>
            <a:pPr algn="ctr"/>
            <a:r>
              <a:rPr lang="hu-HU" sz="4800" dirty="0" smtClean="0"/>
              <a:t>		</a:t>
            </a:r>
          </a:p>
          <a:p>
            <a:pPr algn="ctr"/>
            <a:r>
              <a:rPr lang="hu-HU" sz="4800" dirty="0" smtClean="0"/>
              <a:t>	</a:t>
            </a:r>
            <a:endParaRPr lang="hu-HU" sz="480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29</a:t>
            </a:fld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22529" y="-81390"/>
            <a:ext cx="9411577" cy="468313"/>
          </a:xfrm>
        </p:spPr>
        <p:txBody>
          <a:bodyPr/>
          <a:lstStyle/>
          <a:p>
            <a:r>
              <a:rPr lang="hu-HU" sz="2000" dirty="0" smtClean="0"/>
              <a:t>Az adósságráták még emelkednek, így további kiigazításra lesz szükség</a:t>
            </a:r>
            <a:endParaRPr lang="en-US" sz="2000" dirty="0" smtClean="0"/>
          </a:p>
        </p:txBody>
      </p:sp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19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857545" y="616713"/>
            <a:ext cx="47102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600" dirty="0" smtClean="0"/>
              <a:t>Államadósság </a:t>
            </a:r>
            <a:r>
              <a:rPr lang="en-US" sz="1600" b="0" dirty="0" smtClean="0"/>
              <a:t>(a</a:t>
            </a:r>
            <a:r>
              <a:rPr lang="hu-HU" sz="1600" b="0" dirty="0" smtClean="0"/>
              <a:t> </a:t>
            </a:r>
            <a:r>
              <a:rPr lang="en-US" sz="1600" b="0" dirty="0"/>
              <a:t>GDP</a:t>
            </a:r>
            <a:r>
              <a:rPr lang="hu-HU" sz="1600" b="0" dirty="0"/>
              <a:t> %-ában</a:t>
            </a:r>
            <a:r>
              <a:rPr lang="en-US" sz="1600" b="0" dirty="0" smtClean="0"/>
              <a:t>)</a:t>
            </a:r>
            <a:endParaRPr lang="en-US" sz="1600" b="0" dirty="0"/>
          </a:p>
        </p:txBody>
      </p:sp>
      <p:pic>
        <p:nvPicPr>
          <p:cNvPr id="423054" name="Picture 14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40" y="943338"/>
            <a:ext cx="9196385" cy="4915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0" y="6408806"/>
            <a:ext cx="6642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hu-HU" sz="1000" b="0" i="1" dirty="0" smtClean="0"/>
              <a:t>Forrás</a:t>
            </a:r>
            <a:r>
              <a:rPr lang="en-US" sz="1000" b="0" i="1" dirty="0" smtClean="0"/>
              <a:t>: </a:t>
            </a:r>
            <a:r>
              <a:rPr lang="hu-HU" sz="1000" b="0" i="1" dirty="0" smtClean="0"/>
              <a:t>OECD</a:t>
            </a:r>
            <a:endParaRPr lang="hu-HU" sz="1000" b="0" i="1" dirty="0" smtClean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8697ACB1-B04B-4003-850D-F84257A15DC6}" type="slidenum">
              <a:rPr lang="hu-HU" smtClean="0"/>
              <a:pPr algn="ctr">
                <a:defRPr/>
              </a:pPr>
              <a:t>3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153062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767535" y="60557"/>
            <a:ext cx="9138465" cy="488123"/>
          </a:xfrm>
        </p:spPr>
        <p:txBody>
          <a:bodyPr/>
          <a:lstStyle/>
          <a:p>
            <a:r>
              <a:rPr lang="hu-HU" sz="2000" dirty="0" smtClean="0"/>
              <a:t>A </a:t>
            </a:r>
            <a:r>
              <a:rPr lang="hu-HU" sz="2000" dirty="0" smtClean="0"/>
              <a:t>növekedést jelenleg a jegybankok támogatják, zéró kamatpolitikával és </a:t>
            </a:r>
            <a:r>
              <a:rPr lang="hu-HU" sz="2000" dirty="0" smtClean="0"/>
              <a:t>szinte korlátlan </a:t>
            </a:r>
            <a:r>
              <a:rPr lang="hu-HU" sz="2000" dirty="0" smtClean="0"/>
              <a:t>pénzteremtéssel. De ez az USA-ban véget érhet</a:t>
            </a:r>
            <a:endParaRPr lang="en-US" sz="2000" dirty="0" smtClean="0"/>
          </a:p>
        </p:txBody>
      </p:sp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72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0" y="6408806"/>
            <a:ext cx="6642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hu-HU" sz="1000" b="0" i="1" dirty="0" smtClean="0"/>
              <a:t>Forrás</a:t>
            </a:r>
            <a:r>
              <a:rPr lang="en-US" sz="1000" b="0" i="1" dirty="0" smtClean="0"/>
              <a:t>: </a:t>
            </a:r>
            <a:r>
              <a:rPr lang="hu-HU" sz="1000" b="0" i="1" dirty="0" smtClean="0"/>
              <a:t>FED, ECB, </a:t>
            </a:r>
            <a:r>
              <a:rPr lang="hu-HU" sz="1000" b="0" i="1" dirty="0" err="1" smtClean="0"/>
              <a:t>BoE</a:t>
            </a:r>
            <a:r>
              <a:rPr lang="hu-HU" sz="1000" b="0" i="1" dirty="0" smtClean="0"/>
              <a:t>, BoJ</a:t>
            </a:r>
            <a:r>
              <a:rPr lang="en-US" sz="1000" b="0" i="1" dirty="0" smtClean="0"/>
              <a:t>, OTP </a:t>
            </a:r>
            <a:r>
              <a:rPr lang="hu-HU" sz="1000" b="0" i="1" dirty="0" smtClean="0"/>
              <a:t>Elemzés</a:t>
            </a: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407495" y="619119"/>
            <a:ext cx="47102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600" dirty="0" smtClean="0"/>
              <a:t>A jegybank mérlegfőösszege </a:t>
            </a:r>
            <a:r>
              <a:rPr lang="en-US" sz="1600" b="0" dirty="0" smtClean="0"/>
              <a:t>(a</a:t>
            </a:r>
            <a:r>
              <a:rPr lang="hu-HU" sz="1600" b="0" dirty="0" smtClean="0"/>
              <a:t> </a:t>
            </a:r>
            <a:r>
              <a:rPr lang="en-US" sz="1600" b="0" dirty="0"/>
              <a:t>GDP</a:t>
            </a:r>
            <a:r>
              <a:rPr lang="hu-HU" sz="1600" b="0" dirty="0"/>
              <a:t> %-ában</a:t>
            </a:r>
            <a:r>
              <a:rPr lang="en-US" sz="1600" b="0" dirty="0" smtClean="0"/>
              <a:t>)</a:t>
            </a:r>
            <a:endParaRPr lang="en-US" sz="1600" b="0" dirty="0"/>
          </a:p>
        </p:txBody>
      </p:sp>
      <p:pic>
        <p:nvPicPr>
          <p:cNvPr id="468996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55" y="952498"/>
            <a:ext cx="6800195" cy="4231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8697ACB1-B04B-4003-850D-F84257A15DC6}" type="slidenum">
              <a:rPr lang="hu-HU" smtClean="0"/>
              <a:pPr algn="ctr">
                <a:defRPr/>
              </a:pPr>
              <a:t>4</a:t>
            </a:fld>
            <a:endParaRPr lang="hu-HU" dirty="0"/>
          </a:p>
        </p:txBody>
      </p:sp>
      <p:sp>
        <p:nvSpPr>
          <p:cNvPr id="12" name="Rectangle 9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88216" y="780869"/>
            <a:ext cx="3017784" cy="575104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hu-HU" sz="1600" b="1" dirty="0" smtClean="0">
                <a:solidFill>
                  <a:srgbClr val="000000"/>
                </a:solidFill>
              </a:rPr>
              <a:t>QE3: </a:t>
            </a:r>
            <a:r>
              <a:rPr lang="hu-HU" sz="1600" dirty="0" smtClean="0">
                <a:solidFill>
                  <a:srgbClr val="000000"/>
                </a:solidFill>
              </a:rPr>
              <a:t>85 Mrd. USD /hó 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dirty="0" smtClean="0">
                <a:solidFill>
                  <a:srgbClr val="000000"/>
                </a:solidFill>
              </a:rPr>
              <a:t>Az év második felében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lassulhat, és </a:t>
            </a:r>
            <a:r>
              <a:rPr lang="hu-HU" sz="1600" b="1" dirty="0" smtClean="0">
                <a:solidFill>
                  <a:srgbClr val="000000"/>
                </a:solidFill>
              </a:rPr>
              <a:t>az idén véget is </a:t>
            </a:r>
          </a:p>
          <a:p>
            <a:r>
              <a:rPr lang="hu-HU" sz="1600" b="1" dirty="0" smtClean="0">
                <a:solidFill>
                  <a:srgbClr val="000000"/>
                </a:solidFill>
              </a:rPr>
              <a:t>érhet. 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 smtClean="0">
                <a:solidFill>
                  <a:srgbClr val="000000"/>
                </a:solidFill>
              </a:rPr>
              <a:t>Ok: </a:t>
            </a:r>
            <a:r>
              <a:rPr lang="hu-HU" sz="1600" dirty="0" smtClean="0">
                <a:solidFill>
                  <a:srgbClr val="000000"/>
                </a:solidFill>
              </a:rPr>
              <a:t>nincsen szükség rá:</a:t>
            </a: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hu-HU" sz="1600" dirty="0" smtClean="0">
                <a:solidFill>
                  <a:srgbClr val="000000"/>
                </a:solidFill>
              </a:rPr>
              <a:t>1,5-2%-os növekedés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600" dirty="0" smtClean="0">
                <a:solidFill>
                  <a:srgbClr val="000000"/>
                </a:solidFill>
              </a:rPr>
              <a:t>széles bázison, 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600" dirty="0" smtClean="0">
                <a:solidFill>
                  <a:srgbClr val="000000"/>
                </a:solidFill>
              </a:rPr>
              <a:t>erős a munkahely-teremtés 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600" dirty="0" smtClean="0">
                <a:solidFill>
                  <a:srgbClr val="000000"/>
                </a:solidFill>
              </a:rPr>
              <a:t>f</a:t>
            </a:r>
            <a:r>
              <a:rPr lang="hu-HU" sz="1600" dirty="0" smtClean="0">
                <a:solidFill>
                  <a:srgbClr val="000000"/>
                </a:solidFill>
              </a:rPr>
              <a:t>eltámadt ingatlanszektor</a:t>
            </a:r>
          </a:p>
          <a:p>
            <a:pPr marL="342900" indent="-342900">
              <a:buFont typeface="+mj-lt"/>
              <a:buAutoNum type="arabicPeriod"/>
            </a:pPr>
            <a:r>
              <a:rPr lang="hu-HU" sz="1600" dirty="0" smtClean="0">
                <a:solidFill>
                  <a:srgbClr val="000000"/>
                </a:solidFill>
              </a:rPr>
              <a:t>váratlanul jó hiánypálya</a:t>
            </a:r>
          </a:p>
          <a:p>
            <a:pPr marL="342900" indent="-342900">
              <a:buFont typeface="+mj-lt"/>
              <a:buAutoNum type="arabicPeriod"/>
            </a:pPr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hu-HU" sz="1600" dirty="0" smtClean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en-GB" sz="1600" dirty="0">
              <a:solidFill>
                <a:srgbClr val="000000"/>
              </a:solidFill>
            </a:endParaRPr>
          </a:p>
          <a:p>
            <a:endParaRPr lang="en-GB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765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4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0" y="6440488"/>
            <a:ext cx="66421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000" b="0" i="1" dirty="0">
                <a:solidFill>
                  <a:schemeClr val="bg1"/>
                </a:solidFill>
              </a:rPr>
              <a:t>Forrás</a:t>
            </a:r>
            <a:r>
              <a:rPr lang="en-US" sz="1000" b="0" i="1" dirty="0">
                <a:solidFill>
                  <a:schemeClr val="bg1"/>
                </a:solidFill>
              </a:rPr>
              <a:t>: </a:t>
            </a:r>
            <a:r>
              <a:rPr lang="hu-HU" sz="1000" b="0" i="1" dirty="0" smtClean="0">
                <a:solidFill>
                  <a:schemeClr val="bg1"/>
                </a:solidFill>
              </a:rPr>
              <a:t>DataStream, </a:t>
            </a:r>
            <a:r>
              <a:rPr lang="en-US" sz="1000" b="0" i="1" dirty="0" smtClean="0">
                <a:solidFill>
                  <a:schemeClr val="bg1"/>
                </a:solidFill>
              </a:rPr>
              <a:t>OTP </a:t>
            </a:r>
            <a:r>
              <a:rPr lang="hu-HU" sz="1000" b="0" i="1" dirty="0">
                <a:solidFill>
                  <a:schemeClr val="bg1"/>
                </a:solidFill>
              </a:rPr>
              <a:t>Elemzés</a:t>
            </a:r>
            <a:endParaRPr lang="en-US" sz="1000" b="0" i="1" dirty="0">
              <a:solidFill>
                <a:schemeClr val="bg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257506" y="600943"/>
            <a:ext cx="471027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400" dirty="0" smtClean="0"/>
              <a:t>Amerikai és német 10 éves hozamszint</a:t>
            </a:r>
            <a:endParaRPr lang="en-US" sz="1400" b="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5</a:t>
            </a:fld>
            <a:endParaRPr lang="hu-HU" dirty="0"/>
          </a:p>
        </p:txBody>
      </p:sp>
      <p:pic>
        <p:nvPicPr>
          <p:cNvPr id="620749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9250"/>
            <a:ext cx="7184598" cy="46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zis 1"/>
          <p:cNvSpPr/>
          <p:nvPr/>
        </p:nvSpPr>
        <p:spPr>
          <a:xfrm>
            <a:off x="6438165" y="3339250"/>
            <a:ext cx="793888" cy="1259880"/>
          </a:xfrm>
          <a:prstGeom prst="ellipse">
            <a:avLst/>
          </a:prstGeom>
          <a:solidFill>
            <a:schemeClr val="accent6">
              <a:lumMod val="40000"/>
              <a:lumOff val="60000"/>
              <a:alpha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7535" y="60557"/>
            <a:ext cx="9138465" cy="488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hu-HU" sz="2000" kern="0" dirty="0" smtClean="0"/>
              <a:t>A hozamok továbbra is igen alacsonyak. A korlátlan pénzbőség vége jó eséllyel emelkedést hoz majd, aminek lehet a jele az elmúlt havi emelkedés. </a:t>
            </a:r>
            <a:endParaRPr lang="en-US" sz="2000" kern="0" dirty="0" smtClean="0"/>
          </a:p>
        </p:txBody>
      </p:sp>
    </p:spTree>
    <p:extLst>
      <p:ext uri="{BB962C8B-B14F-4D97-AF65-F5344CB8AC3E}">
        <p14:creationId xmlns:p14="http://schemas.microsoft.com/office/powerpoint/2010/main" val="146965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643729" y="80367"/>
            <a:ext cx="9048455" cy="468313"/>
          </a:xfrm>
        </p:spPr>
        <p:txBody>
          <a:bodyPr/>
          <a:lstStyle/>
          <a:p>
            <a:r>
              <a:rPr lang="hu-HU" sz="1800" dirty="0" smtClean="0"/>
              <a:t>Eurózóna: </a:t>
            </a:r>
            <a:r>
              <a:rPr lang="hu-HU" sz="1800" dirty="0" smtClean="0"/>
              <a:t>A számos megoldatlan probléma miatt Európa 2013 végén kászálódhat ki a recesszióból</a:t>
            </a:r>
            <a:endParaRPr lang="en-US" sz="1800" dirty="0" smtClean="0"/>
          </a:p>
        </p:txBody>
      </p:sp>
      <p:graphicFrame>
        <p:nvGraphicFramePr>
          <p:cNvPr id="9218" name="Rectangle 6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84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23" name="Text Box 7"/>
          <p:cNvSpPr txBox="1">
            <a:spLocks noChangeArrowheads="1"/>
          </p:cNvSpPr>
          <p:nvPr/>
        </p:nvSpPr>
        <p:spPr bwMode="auto">
          <a:xfrm>
            <a:off x="0" y="6440488"/>
            <a:ext cx="66421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000" b="0" i="1" dirty="0">
                <a:solidFill>
                  <a:schemeClr val="bg1"/>
                </a:solidFill>
              </a:rPr>
              <a:t>Forrás</a:t>
            </a:r>
            <a:r>
              <a:rPr lang="en-US" sz="1000" b="0" i="1" dirty="0">
                <a:solidFill>
                  <a:schemeClr val="bg1"/>
                </a:solidFill>
              </a:rPr>
              <a:t>: </a:t>
            </a:r>
            <a:r>
              <a:rPr lang="hu-HU" sz="1000" b="0" i="1" dirty="0" smtClean="0">
                <a:solidFill>
                  <a:schemeClr val="bg1"/>
                </a:solidFill>
              </a:rPr>
              <a:t>DataStream, </a:t>
            </a:r>
            <a:r>
              <a:rPr lang="en-US" sz="1000" b="0" i="1" dirty="0" smtClean="0">
                <a:solidFill>
                  <a:schemeClr val="bg1"/>
                </a:solidFill>
              </a:rPr>
              <a:t>OTP </a:t>
            </a:r>
            <a:r>
              <a:rPr lang="hu-HU" sz="1000" b="0" i="1" dirty="0">
                <a:solidFill>
                  <a:schemeClr val="bg1"/>
                </a:solidFill>
              </a:rPr>
              <a:t>Elemzés</a:t>
            </a:r>
            <a:endParaRPr lang="en-US" sz="1000" b="0" i="1" dirty="0">
              <a:solidFill>
                <a:schemeClr val="bg1"/>
              </a:solidFill>
            </a:endParaRPr>
          </a:p>
        </p:txBody>
      </p:sp>
      <p:sp>
        <p:nvSpPr>
          <p:cNvPr id="9227" name="Text Box 11"/>
          <p:cNvSpPr txBox="1">
            <a:spLocks noChangeArrowheads="1"/>
          </p:cNvSpPr>
          <p:nvPr/>
        </p:nvSpPr>
        <p:spPr bwMode="auto">
          <a:xfrm>
            <a:off x="257506" y="600943"/>
            <a:ext cx="471027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400" dirty="0" smtClean="0"/>
              <a:t>A GDP növekedés </a:t>
            </a:r>
            <a:r>
              <a:rPr lang="en-US" sz="1400" b="0" dirty="0" smtClean="0"/>
              <a:t>(</a:t>
            </a:r>
            <a:r>
              <a:rPr lang="hu-HU" sz="1400" b="0" dirty="0" smtClean="0"/>
              <a:t>%-ban</a:t>
            </a:r>
            <a:r>
              <a:rPr lang="en-US" sz="1400" b="0" dirty="0" smtClean="0"/>
              <a:t>)</a:t>
            </a:r>
            <a:endParaRPr lang="en-US" sz="1400" b="0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97ACB1-B04B-4003-850D-F84257A15DC6}" type="slidenum">
              <a:rPr lang="hu-HU" smtClean="0"/>
              <a:pPr>
                <a:defRPr/>
              </a:pPr>
              <a:t>6</a:t>
            </a:fld>
            <a:endParaRPr lang="hu-HU" dirty="0"/>
          </a:p>
        </p:txBody>
      </p:sp>
      <p:pic>
        <p:nvPicPr>
          <p:cNvPr id="6176836" name="Picture 6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0" y="863715"/>
            <a:ext cx="6628301" cy="43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9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720761" y="780869"/>
            <a:ext cx="2957765" cy="575104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endParaRPr lang="hu-HU" sz="1600" dirty="0" smtClean="0">
              <a:solidFill>
                <a:srgbClr val="000000"/>
              </a:solidFill>
            </a:endParaRPr>
          </a:p>
          <a:p>
            <a:r>
              <a:rPr lang="hu-HU" sz="1600" dirty="0" smtClean="0">
                <a:solidFill>
                  <a:srgbClr val="000000"/>
                </a:solidFill>
              </a:rPr>
              <a:t>Problémák: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 smtClean="0">
                <a:solidFill>
                  <a:srgbClr val="000000"/>
                </a:solidFill>
              </a:rPr>
              <a:t>Költségvetési egység: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Egységként jól néznek ki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költségvetési számok. 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dirty="0" smtClean="0">
                <a:solidFill>
                  <a:srgbClr val="000000"/>
                </a:solidFill>
              </a:rPr>
              <a:t>De az egység még távol van. </a:t>
            </a:r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dirty="0" smtClean="0">
                <a:solidFill>
                  <a:srgbClr val="000000"/>
                </a:solidFill>
              </a:rPr>
              <a:t>Előrelépés az őszi német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választások után várható.</a:t>
            </a:r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r>
              <a:rPr lang="hu-HU" sz="1600" b="1" dirty="0" smtClean="0">
                <a:solidFill>
                  <a:srgbClr val="000000"/>
                </a:solidFill>
              </a:rPr>
              <a:t>Gazdasági különbségek: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Hiányzó feldolgozóipar délen,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Még mindig magas bérek</a:t>
            </a: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r>
              <a:rPr lang="hu-HU" sz="1600" b="1" dirty="0" smtClean="0">
                <a:solidFill>
                  <a:srgbClr val="000000"/>
                </a:solidFill>
              </a:rPr>
              <a:t>Szociális feszültségek: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Délen a munkanélküliség 25%, </a:t>
            </a:r>
          </a:p>
          <a:p>
            <a:r>
              <a:rPr lang="hu-HU" sz="1600" dirty="0" smtClean="0">
                <a:solidFill>
                  <a:srgbClr val="000000"/>
                </a:solidFill>
              </a:rPr>
              <a:t>a fiataloknál 50-70%</a:t>
            </a: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hu-HU" sz="1600" dirty="0">
              <a:solidFill>
                <a:srgbClr val="000000"/>
              </a:solidFill>
            </a:endParaRPr>
          </a:p>
          <a:p>
            <a:endParaRPr lang="hu-HU" sz="1600" dirty="0" smtClean="0">
              <a:solidFill>
                <a:srgbClr val="000000"/>
              </a:solidFill>
            </a:endParaRPr>
          </a:p>
          <a:p>
            <a:endParaRPr lang="en-GB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497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210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6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138465" y="6652052"/>
            <a:ext cx="765175" cy="287338"/>
          </a:xfrm>
          <a:noFill/>
        </p:spPr>
        <p:txBody>
          <a:bodyPr/>
          <a:lstStyle/>
          <a:p>
            <a:fld id="{0997A14F-B1EB-4C94-B4DC-74D46BE84394}" type="slidenum">
              <a:rPr lang="hu-HU" smtClean="0"/>
              <a:pPr/>
              <a:t>7</a:t>
            </a:fld>
            <a:endParaRPr lang="hu-HU" dirty="0" smtClean="0"/>
          </a:p>
        </p:txBody>
      </p:sp>
      <p:sp>
        <p:nvSpPr>
          <p:cNvPr id="5124" name="Rectangle 6"/>
          <p:cNvSpPr txBox="1"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25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b="0" dirty="0"/>
          </a:p>
        </p:txBody>
      </p:sp>
      <p:sp>
        <p:nvSpPr>
          <p:cNvPr id="5137" name="Dia számának helye 43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385303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en-GB" sz="1000" b="0" dirty="0"/>
          </a:p>
        </p:txBody>
      </p:sp>
      <p:sp>
        <p:nvSpPr>
          <p:cNvPr id="19" name="Lekerekített téglalap 18"/>
          <p:cNvSpPr/>
          <p:nvPr>
            <p:custDataLst>
              <p:tags r:id="rId7"/>
            </p:custDataLst>
          </p:nvPr>
        </p:nvSpPr>
        <p:spPr bwMode="auto">
          <a:xfrm>
            <a:off x="2228320" y="4599130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2013-ban elérheti a gazdasági növekedés az 1%-ot,de a középtávú kilátások nem rózsásak</a:t>
            </a:r>
          </a:p>
        </p:txBody>
      </p:sp>
      <p:sp>
        <p:nvSpPr>
          <p:cNvPr id="12" name="Lekerekített téglalap 11"/>
          <p:cNvSpPr/>
          <p:nvPr>
            <p:custDataLst>
              <p:tags r:id="rId8"/>
            </p:custDataLst>
          </p:nvPr>
        </p:nvSpPr>
        <p:spPr bwMode="auto">
          <a:xfrm>
            <a:off x="452500" y="288894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Magyarország</a:t>
            </a:r>
            <a:endParaRPr lang="en-US" sz="1800" b="1" dirty="0"/>
          </a:p>
        </p:txBody>
      </p:sp>
      <p:sp>
        <p:nvSpPr>
          <p:cNvPr id="15" name="Lekerekített téglalap 14"/>
          <p:cNvSpPr/>
          <p:nvPr>
            <p:custDataLst>
              <p:tags r:id="rId9"/>
            </p:custDataLst>
          </p:nvPr>
        </p:nvSpPr>
        <p:spPr bwMode="auto">
          <a:xfrm>
            <a:off x="2228320" y="3744035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/>
              <a:t>Az egyensúly helyreállt, a belső kockázatok jelentősen csökkentek. </a:t>
            </a:r>
            <a:endParaRPr lang="hu-HU" sz="1800" b="1" dirty="0" smtClean="0">
              <a:latin typeface="Arial" charset="0"/>
            </a:endParaRPr>
          </a:p>
        </p:txBody>
      </p:sp>
      <p:sp>
        <p:nvSpPr>
          <p:cNvPr id="17" name="Lekerekített téglalap 16"/>
          <p:cNvSpPr/>
          <p:nvPr>
            <p:custDataLst>
              <p:tags r:id="rId10"/>
            </p:custDataLst>
          </p:nvPr>
        </p:nvSpPr>
        <p:spPr bwMode="auto">
          <a:xfrm>
            <a:off x="2228320" y="5454225"/>
            <a:ext cx="722518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 smtClean="0">
                <a:latin typeface="Arial" charset="0"/>
              </a:rPr>
              <a:t>Tartós maradhat az alacsony hozamkörnyezet. A megszokott hozamok eléréséhez nagyobb kockázatot kell vállalni</a:t>
            </a:r>
          </a:p>
        </p:txBody>
      </p:sp>
      <p:sp>
        <p:nvSpPr>
          <p:cNvPr id="18" name="Lekerekített téglalap 17"/>
          <p:cNvSpPr/>
          <p:nvPr>
            <p:custDataLst>
              <p:tags r:id="rId11"/>
            </p:custDataLst>
          </p:nvPr>
        </p:nvSpPr>
        <p:spPr bwMode="auto">
          <a:xfrm>
            <a:off x="473125" y="998730"/>
            <a:ext cx="9001000" cy="72008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Külső </a:t>
            </a:r>
            <a:r>
              <a:rPr lang="hu-HU" sz="1800" b="1" dirty="0"/>
              <a:t>környezet: költségvetési szigor, óriási pénzbőség, vergődés Európában</a:t>
            </a:r>
            <a:endParaRPr lang="en-US" sz="1800" b="1" dirty="0"/>
          </a:p>
        </p:txBody>
      </p:sp>
      <p:sp>
        <p:nvSpPr>
          <p:cNvPr id="14" name="Lekerekített téglalap 13"/>
          <p:cNvSpPr/>
          <p:nvPr>
            <p:custDataLst>
              <p:tags r:id="rId12"/>
            </p:custDataLst>
          </p:nvPr>
        </p:nvSpPr>
        <p:spPr bwMode="auto">
          <a:xfrm>
            <a:off x="473125" y="1943835"/>
            <a:ext cx="8990725" cy="720080"/>
          </a:xfrm>
          <a:prstGeom prst="round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52000" tIns="45720" rIns="252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hu-HU" sz="1800" b="1" dirty="0"/>
              <a:t>A régió növekedési motorjai: visszafogott KKE növekedést vetítenek előre a nem túl kedvező európai növekedési kilátások </a:t>
            </a:r>
            <a:endParaRPr lang="hu-HU" sz="1800" b="1" dirty="0"/>
          </a:p>
        </p:txBody>
      </p:sp>
    </p:spTree>
    <p:extLst>
      <p:ext uri="{BB962C8B-B14F-4D97-AF65-F5344CB8AC3E}">
        <p14:creationId xmlns:p14="http://schemas.microsoft.com/office/powerpoint/2010/main" val="191369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2490" y="773705"/>
            <a:ext cx="9181020" cy="56184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17961" dir="2700000" sx="10000" sy="10000" algn="ctr" rotWithShape="0">
              <a:schemeClr val="folHlink"/>
            </a:outerShdw>
          </a:effectLst>
        </p:spPr>
        <p:txBody>
          <a:bodyPr wrap="none" anchor="ctr"/>
          <a:lstStyle/>
          <a:p>
            <a:r>
              <a:rPr lang="en-GB" sz="1000">
                <a:solidFill>
                  <a:srgbClr val="000000"/>
                </a:solidFill>
              </a:rPr>
              <a:t> </a:t>
            </a: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  <a:p>
            <a:endParaRPr lang="en-GB" sz="1000">
              <a:solidFill>
                <a:srgbClr val="000000"/>
              </a:solidFill>
            </a:endParaRPr>
          </a:p>
        </p:txBody>
      </p:sp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263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6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</p:spPr>
        <p:txBody>
          <a:bodyPr/>
          <a:lstStyle/>
          <a:p>
            <a:fld id="{F4F3E1B8-6D3D-4547-88CE-782AC605C63B}" type="slidenum">
              <a:rPr lang="hu-HU" smtClean="0">
                <a:solidFill>
                  <a:srgbClr val="000000"/>
                </a:solidFill>
              </a:rPr>
              <a:pPr/>
              <a:t>8</a:t>
            </a:fld>
            <a:endParaRPr lang="hu-HU" dirty="0" smtClean="0">
              <a:solidFill>
                <a:srgbClr val="000000"/>
              </a:solidFill>
            </a:endParaRPr>
          </a:p>
        </p:txBody>
      </p:sp>
      <p:sp>
        <p:nvSpPr>
          <p:cNvPr id="6148" name="Rectangle 6"/>
          <p:cNvSpPr txBox="1"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49" name="Rectangle 6"/>
          <p:cNvSpPr txBox="1"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9385302" y="6589713"/>
            <a:ext cx="5175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hu-HU" sz="1000" dirty="0">
              <a:solidFill>
                <a:srgbClr val="000000"/>
              </a:solidFill>
            </a:endParaRPr>
          </a:p>
        </p:txBody>
      </p:sp>
      <p:sp>
        <p:nvSpPr>
          <p:cNvPr id="6150" name="Rectangle 2"/>
          <p:cNvSpPr>
            <a:spLocks noGrp="1" noChangeArrowheads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767534" y="115888"/>
            <a:ext cx="8955903" cy="468312"/>
          </a:xfrm>
        </p:spPr>
        <p:txBody>
          <a:bodyPr/>
          <a:lstStyle/>
          <a:p>
            <a:pPr eaLnBrk="1" hangingPunct="1"/>
            <a:r>
              <a:rPr lang="hu-HU" sz="2000" dirty="0" smtClean="0"/>
              <a:t>A tőkeszegény régiós gazdaságok növekedésének fő motorja az export és a tőkebeáramlás</a:t>
            </a:r>
            <a:endParaRPr lang="en-US" sz="2000" dirty="0" smtClean="0"/>
          </a:p>
        </p:txBody>
      </p:sp>
      <p:sp>
        <p:nvSpPr>
          <p:cNvPr id="10" name="Szövegdoboz 9"/>
          <p:cNvSpPr txBox="1"/>
          <p:nvPr/>
        </p:nvSpPr>
        <p:spPr>
          <a:xfrm>
            <a:off x="504" y="548680"/>
            <a:ext cx="9813035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 algn="just"/>
            <a:r>
              <a:rPr lang="hu-HU" sz="2000" b="1" dirty="0" smtClean="0">
                <a:solidFill>
                  <a:srgbClr val="99CC00"/>
                </a:solidFill>
              </a:rPr>
              <a:t>A régiós gazdaságok főbb jellemzői:</a:t>
            </a:r>
            <a:endParaRPr lang="hu-HU" sz="2000" b="1" dirty="0" smtClean="0">
              <a:solidFill>
                <a:srgbClr val="99CC00"/>
              </a:solidFill>
            </a:endParaRP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b="1" dirty="0" smtClean="0"/>
              <a:t>Tőkeszegénység: </a:t>
            </a:r>
            <a:r>
              <a:rPr lang="hu-HU" sz="1800" b="0" dirty="0" smtClean="0"/>
              <a:t>a rendszerváltás a tőkeállomány negyedét söpörte el, amit csak több évtized alatt lehet pótolni</a:t>
            </a:r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b="1" dirty="0" smtClean="0"/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b="1" dirty="0" smtClean="0"/>
              <a:t>Alacsony megtakarítási ráta</a:t>
            </a:r>
            <a:endParaRPr lang="hu-HU" sz="1800" b="1" dirty="0" smtClean="0"/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dirty="0" smtClean="0"/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Az Unió gazdaságába integrált exportszektor – főleg erősen konjunktúra-érzékeny termékekről van szó (autó, tartós fogyasztási cikkek, turizmus)</a:t>
            </a:r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dirty="0" smtClean="0"/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Az </a:t>
            </a:r>
            <a:r>
              <a:rPr lang="hu-HU" sz="1800" dirty="0"/>
              <a:t>Unió gazdaságába integrált </a:t>
            </a:r>
            <a:r>
              <a:rPr lang="hu-HU" sz="1800" dirty="0" smtClean="0"/>
              <a:t>bankszektor</a:t>
            </a:r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b="0" dirty="0"/>
          </a:p>
          <a:p>
            <a:pPr marL="457200" indent="-457200" algn="just"/>
            <a:r>
              <a:rPr lang="hu-HU" sz="2000" b="1" dirty="0">
                <a:solidFill>
                  <a:srgbClr val="99CC00"/>
                </a:solidFill>
              </a:rPr>
              <a:t>	</a:t>
            </a:r>
            <a:r>
              <a:rPr lang="hu-HU" sz="2000" b="1" dirty="0" smtClean="0">
                <a:solidFill>
                  <a:srgbClr val="99CC00"/>
                </a:solidFill>
              </a:rPr>
              <a:t>Következmények:</a:t>
            </a:r>
            <a:endParaRPr lang="hu-HU" sz="2000" b="1" dirty="0">
              <a:solidFill>
                <a:srgbClr val="99CC00"/>
              </a:solidFill>
            </a:endParaRPr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/>
              <a:t>A </a:t>
            </a:r>
            <a:r>
              <a:rPr lang="hu-HU" sz="1800" dirty="0" smtClean="0"/>
              <a:t>kínai, belső megtakarításokra alapozott fejlődés nem járható (alacsony </a:t>
            </a:r>
            <a:r>
              <a:rPr lang="hu-HU" sz="1800" dirty="0"/>
              <a:t>belső </a:t>
            </a:r>
            <a:r>
              <a:rPr lang="hu-HU" sz="1800" dirty="0" smtClean="0"/>
              <a:t>megtakarítás)</a:t>
            </a:r>
            <a:endParaRPr lang="hu-HU" sz="1800" dirty="0"/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dirty="0" smtClean="0"/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Gyors gazdasági növekedés érhető el békeidőkben jó tőkevonzó-képességgel</a:t>
            </a:r>
          </a:p>
          <a:p>
            <a:pPr marL="1371600" lvl="2" indent="-457200" algn="just">
              <a:buFont typeface="Arial" pitchFamily="34" charset="0"/>
              <a:buChar char="•"/>
            </a:pPr>
            <a:endParaRPr lang="hu-HU" sz="1800" dirty="0" smtClean="0"/>
          </a:p>
          <a:p>
            <a:pPr marL="1371600" lvl="2" indent="-457200" algn="just">
              <a:buFont typeface="Arial" pitchFamily="34" charset="0"/>
              <a:buChar char="•"/>
            </a:pPr>
            <a:r>
              <a:rPr lang="hu-HU" sz="1800" dirty="0" smtClean="0"/>
              <a:t>A tőkebeáramlás kiépített csatornái: </a:t>
            </a:r>
          </a:p>
          <a:p>
            <a:pPr marL="1828800" lvl="3" indent="-457200" algn="just">
              <a:buFont typeface="Arial" pitchFamily="34" charset="0"/>
              <a:buChar char="•"/>
            </a:pPr>
            <a:r>
              <a:rPr lang="hu-HU" sz="1800" dirty="0" smtClean="0"/>
              <a:t>FDI az exportszektorba </a:t>
            </a:r>
          </a:p>
          <a:p>
            <a:pPr marL="1828800" lvl="3" indent="-457200" algn="just">
              <a:buFont typeface="Arial" pitchFamily="34" charset="0"/>
              <a:buChar char="•"/>
            </a:pPr>
            <a:r>
              <a:rPr lang="hu-HU" sz="1800" dirty="0" smtClean="0"/>
              <a:t>anyabanki források átcsatornázása</a:t>
            </a:r>
          </a:p>
          <a:p>
            <a:pPr algn="just"/>
            <a:endParaRPr lang="hu-HU" sz="1800" b="0" dirty="0" smtClean="0"/>
          </a:p>
        </p:txBody>
      </p:sp>
    </p:spTree>
    <p:extLst>
      <p:ext uri="{BB962C8B-B14F-4D97-AF65-F5344CB8AC3E}">
        <p14:creationId xmlns:p14="http://schemas.microsoft.com/office/powerpoint/2010/main" val="382499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246&quot;&gt;&lt;property id=&quot;20148&quot; value=&quot;5&quot;/&gt;&lt;property id=&quot;20300&quot; value=&quot;Slide 1 - &amp;quot;Az OTP Bank 2009. évi teljesítményének áttekintése és a 2010. évi stratégiai irányok Magyarországon&amp;quot;&quot;/&gt;&lt;property id=&quot;20307&quot; value=&quot;616&quot;/&gt;&lt;/object&gt;&lt;object type=&quot;3&quot; unique_id=&quot;10247&quot;&gt;&lt;property id=&quot;20148&quot; value=&quot;5&quot;/&gt;&lt;property id=&quot;20300&quot; value=&quot;Slide 2&quot;/&gt;&lt;property id=&quot;20307&quot; value=&quot;640&quot;/&gt;&lt;/object&gt;&lt;object type=&quot;3&quot; unique_id=&quot;10248&quot;&gt;&lt;property id=&quot;20148&quot; value=&quot;5&quot;/&gt;&lt;property id=&quot;20300&quot; value=&quot;Slide 3 - &amp;quot;Az OTP Csoport jövedelemtermelő képessége a válság közepette is stabil – bizonyítván, hogy a Csoport képes rugalmas&quot;/&gt;&lt;property id=&quot;20307&quot; value=&quot;646&quot;/&gt;&lt;/object&gt;&lt;object type=&quot;3&quot; unique_id=&quot;10249&quot;&gt;&lt;property id=&quot;20148&quot; value=&quot;5&quot;/&gt;&lt;property id=&quot;20300&quot; value=&quot;Slide 4 - &amp;quot;Az elmúlt évtized folyamán a bankot kiemelkedő jövedelmezőség jellemezte, az OTP Csoport tőkearányos nyeresége a vá&quot;/&gt;&lt;property id=&quot;20307&quot; value=&quot;620&quot;/&gt;&lt;/object&gt;&lt;object type=&quot;3&quot; unique_id=&quot;10250&quot;&gt;&lt;property id=&quot;20148&quot; value=&quot;5&quot;/&gt;&lt;property id=&quot;20300&quot; value=&quot;Slide 5 - &amp;quot;Az OTP Csoport tőkemegfelelési mutatója 2009Q3-ban 16,9%, Tier1 rátája 13,2%, mely nemzetközi  viszonylatban is kie&quot;/&gt;&lt;property id=&quot;20307&quot; value=&quot;621&quot;/&gt;&lt;/object&gt;&lt;object type=&quot;3&quot; unique_id=&quot;10251&quot;&gt;&lt;property id=&quot;20148&quot; value=&quot;5&quot;/&gt;&lt;property id=&quot;20300&quot; value=&quot;Slide 6 - &amp;quot;Az OTP Csoport likviditási tartaléka jelenleg mintegy 4,85 milliárd euró, ez lehetővé tette az 1,4 milliárd eurós á&quot;/&gt;&lt;property id=&quot;20307&quot; value=&quot;647&quot;/&gt;&lt;/object&gt;&lt;object type=&quot;3&quot; unique_id=&quot;10252&quot;&gt;&lt;property id=&quot;20148&quot; value=&quot;5&quot;/&gt;&lt;property id=&quot;20300&quot; value=&quot;Slide 7 - &amp;quot;Egészséges forrásszerkezet, alacsony leverage párosulva relatíve magas, de csökkenő hitel/betét rátával&amp;quot;&quot;/&gt;&lt;property id=&quot;20307&quot; value=&quot;648&quot;/&gt;&lt;/object&gt;&lt;object type=&quot;3&quot; unique_id=&quot;10253&quot;&gt;&lt;property id=&quot;20148&quot; value=&quot;5&quot;/&gt;&lt;property id=&quot;20300&quot; value=&quot;Slide 8 - &amp;quot;Az OTP részvényárfolyama a jó eredmény és a stabil működés ellenére megsínylette a magyar makrogazdasági és a banks&quot;/&gt;&lt;property id=&quot;20307&quot; value=&quot;625&quot;/&gt;&lt;/object&gt;&lt;object type=&quot;3&quot; unique_id=&quot;10254&quot;&gt;&lt;property id=&quot;20148&quot; value=&quot;5&quot;/&gt;&lt;property id=&quot;20300&quot; value=&quot;Slide 9 - &amp;quot;Az OTP részvényárfolyam túlszárnyalta a bankszektori átlagot az elmúlt évtizedben. A válság kezdete óta (2008Q2) sz&quot;/&gt;&lt;property id=&quot;20307&quot; value=&quot;655&quot;/&gt;&lt;/object&gt;&lt;object type=&quot;3&quot; unique_id=&quot;10255&quot;&gt;&lt;property id=&quot;20148&quot; value=&quot;5&quot;/&gt;&lt;property id=&quot;20300&quot; value=&quot;Slide 10&quot;/&gt;&lt;property id=&quot;20307&quot; value=&quot;652&quot;/&gt;&lt;/object&gt;&lt;object type=&quot;3&quot; unique_id=&quot;10256&quot;&gt;&lt;property id=&quot;20148&quot; value=&quot;5&quot;/&gt;&lt;property id=&quot;20300&quot; value=&quot;Slide 11 - &amp;quot;A várakozásokat felülmúló 130 milliárd forintos első kilenc havi eredmény (-25% y/y), erős működési eredmény (330 &quot;/&gt;&lt;property id=&quot;20307&quot; value=&quot;649&quot;/&gt;&lt;/object&gt;&lt;object type=&quot;3&quot; unique_id=&quot;10257&quot;&gt;&lt;property id=&quot;20148&quot; value=&quot;5&quot;/&gt;&lt;property id=&quot;20300&quot; value=&quot;Slide 12 - &amp;quot;A működési eredmény 5%-os q/q növekedése a stabil bevételek mellett csökkenő működési költségek eredménye (-6% q/q&quot;/&gt;&lt;property id=&quot;20307&quot; value=&quot;627&quot;/&gt;&lt;/object&gt;&lt;object type=&quot;3&quot; unique_id=&quot;10258&quot;&gt;&lt;property id=&quot;20148&quot; value=&quot;5&quot;/&gt;&lt;property id=&quot;20300&quot; value=&quot;Slide 13 - &amp;quot;Az összes banki bevételek q/q változatlan maradtak, nettó kamatmarzs stabilan magas (2009 3Q: 5,69%)&amp;quot;&quot;/&gt;&lt;property id=&quot;20307&quot; value=&quot;628&quot;/&gt;&lt;/object&gt;&lt;object type=&quot;3&quot; unique_id=&quot;10259&quot;&gt;&lt;property id=&quot;20148&quot; value=&quot;5&quot;/&gt;&lt;property id=&quot;20300&quot; value=&quot;Slide 14 - &amp;quot;Stabil bevételek és jó működési hatékonyság a főbb piacokon, jelentős portfolió-minőség romlás csak Ukrajnában&amp;quot;&quot;/&gt;&lt;property id=&quot;20307&quot; value=&quot;650&quot;/&gt;&lt;/object&gt;&lt;object type=&quot;3&quot; unique_id=&quot;10260&quot;&gt;&lt;property id=&quot;20148&quot; value=&quot;5&quot;/&gt;&lt;property id=&quot;20300&quot; value=&quot;Slide 15 - &amp;quot;A banki bevételek y/y jelentősen javultak Oroszország kivételével.&amp;#x0D;&amp;#x0A;Oroszországban q/q már nőtt a marzs, a bevétele&quot;/&gt;&lt;property id=&quot;20307&quot; value=&quot;630&quot;/&gt;&lt;/object&gt;&lt;object type=&quot;3&quot; unique_id=&quot;10261&quot;&gt;&lt;property id=&quot;20148&quot; value=&quot;5&quot;/&gt;&lt;property id=&quot;20300&quot; value=&quot;Slide 16 - &amp;quot;A árfolyamszűrt konszolidált hitelállomány 2009 3Q-ban kismértékben csökkent, a Core, az orosz és a bolgár állomán&quot;/&gt;&lt;property id=&quot;20307&quot; value=&quot;632&quot;/&gt;&lt;/object&gt;&lt;object type=&quot;3&quot; unique_id=&quot;10262&quot;&gt;&lt;property id=&quot;20148&quot; value=&quot;5&quot;/&gt;&lt;property id=&quot;20300&quot; value=&quot;Slide 17 - &amp;quot;Az árfolyamszűrt betétállomány 5%-kal nőtt q/q konszolidált szinten, amihez a magyar és a jelentősebb külföldi cso&quot;/&gt;&lt;property id=&quot;20307&quot; value=&quot;633&quot;/&gt;&lt;/object&gt;&lt;object type=&quot;3&quot; unique_id=&quot;10263&quot;&gt;&lt;property id=&quot;20148&quot; value=&quot;5&quot;/&gt;&lt;property id=&quot;20300&quot; value=&quot;Slide 18 - &amp;quot;A konszolidált nettó jutalékeredmény csak mérsékelten csökkent (-1% q/q) elsősorban a relatíve stabil OTP Core jut&quot;/&gt;&lt;property id=&quot;20307&quot; value=&quot;634&quot;/&gt;&lt;/object&gt;&lt;object type=&quot;3&quot; unique_id=&quot;10264&quot;&gt;&lt;property id=&quot;20148&quot; value=&quot;5&quot;/&gt;&lt;property id=&quot;20300&quot; value=&quot;Slide 19 - &amp;quot;A mérsékeltebb üzleti aktivitás szigorú költségkontrollal párosult, az időszaki kiadás/bevétel ráta (42,7%) jóval &quot;/&gt;&lt;property id=&quot;20307&quot; value=&quot;635&quot;/&gt;&lt;/object&gt;&lt;object type=&quot;3&quot; unique_id=&quot;10265&quot;&gt;&lt;property id=&quot;20148&quot; value=&quot;5&quot;/&gt;&lt;property id=&quot;20300&quot; value=&quot;Slide 20 - &amp;quot;2009 3Q-ban folytatódott a portfolióminőség romlása, a q/q 20%-kal magasabb hitelkockázati költség mellett a fedez&quot;/&gt;&lt;property id=&quot;20307&quot; value=&quot;636&quot;/&gt;&lt;/object&gt;&lt;object type=&quot;3&quot; unique_id=&quot;10266&quot;&gt;&lt;property id=&quot;20148&quot; value=&quot;5&quot;/&gt;&lt;property id=&quot;20300&quot; value=&quot;Slide 21 - &amp;quot;Az OTP Core esetében mérséklődött a portfolió-romlás üteme. Ukrajnában a romló hitelminőség és a magas céltartalék&quot;/&gt;&lt;property id=&quot;20307&quot; value=&quot;637&quot;/&gt;&lt;/object&gt;&lt;object type=&quot;3&quot; unique_id=&quot;10267&quot;&gt;&lt;property id=&quot;20148&quot; value=&quot;5&quot;/&gt;&lt;property id=&quot;20300&quot; value=&quot;Slide 22 - &amp;quot;Lassuló növekedés mellett az átstrukturált hitelek állománya az OTP Banknál december végén elérte a 92 Mrd forinto&quot;/&gt;&lt;property id=&quot;20307&quot; value=&quot;656&quot;/&gt;&lt;/object&gt;&lt;object type=&quot;3&quot; unique_id=&quot;10268&quot;&gt;&lt;property id=&quot;20148&quot; value=&quot;5&quot;/&gt;&lt;property id=&quot;20300&quot; value=&quot;Slide 23&quot;/&gt;&lt;property id=&quot;20307&quot; value=&quot;653&quot;/&gt;&lt;/object&gt;&lt;object type=&quot;3&quot; unique_id=&quot;10269&quot;&gt;&lt;property id=&quot;20148&quot; value=&quot;5&quot;/&gt;&lt;property id=&quot;20300&quot; value=&quot;Slide 24 - &amp;quot;A növekedés lassulásával, a jövedelmek és a fogyasztás visszaesésével párhuzamosan a hitelkereslet továbbra is a k&quot;/&gt;&lt;property id=&quot;20307&quot; value=&quot;645&quot;/&gt;&lt;/object&gt;&lt;object type=&quot;3&quot; unique_id=&quot;10270&quot;&gt;&lt;property id=&quot;20148&quot; value=&quot;5&quot;/&gt;&lt;property id=&quot;20300&quot; value=&quot;Slide 25 - &amp;quot;A versenytársak piaci szerepe erősödött mind a hitelezés, mind a lakossági &amp;#x0D;&amp;#x0A;forrásgyűjtés területén&amp;quot;&quot;/&gt;&lt;property id=&quot;20307&quot; value=&quot;617&quot;/&gt;&lt;/object&gt;&lt;object type=&quot;3&quot; unique_id=&quot;10271&quot;&gt;&lt;property id=&quot;20148&quot; value=&quot;5&quot;/&gt;&lt;property id=&quot;20300&quot; value=&quot;Slide 26 - &amp;quot;2010 legfontosabb céljai, feladatai&amp;quot;&quot;/&gt;&lt;property id=&quot;20307&quot; value=&quot;618&quot;/&gt;&lt;/object&gt;&lt;object type=&quot;3&quot; unique_id=&quot;10272&quot;&gt;&lt;property id=&quot;20148&quot; value=&quot;5&quot;/&gt;&lt;property id=&quot;20300&quot; value=&quot;Slide 27 - &amp;quot;A próbavásárlások alapján az értékesítés színvonalában nem vagyunk lényegesen lemaradva a versenytársaktól, azonba&quot;/&gt;&lt;property id=&quot;20307&quot; value=&quot;642&quot;/&gt;&lt;/object&gt;&lt;object type=&quot;3&quot; unique_id=&quot;10273&quot;&gt;&lt;property id=&quot;20148&quot; value=&quot;5&quot;/&gt;&lt;property id=&quot;20300&quot; value=&quot;Slide 28 - &amp;quot;Az erősebb szabályozottság a bankok és az ügyfelek közti bizalom erősítését/helyreállítását szolgálja&amp;quot;&quot;/&gt;&lt;property id=&quot;20307&quot; value=&quot;599&quot;/&gt;&lt;/object&gt;&lt;object type=&quot;3&quot; unique_id=&quot;10274&quot;&gt;&lt;property id=&quot;20148&quot; value=&quot;5&quot;/&gt;&lt;property id=&quot;20300&quot; value=&quot;Slide 29&quot;/&gt;&lt;property id=&quot;20307&quot; value=&quot;654&quot;/&gt;&lt;/object&gt;&lt;object type=&quot;3&quot; unique_id=&quot;10275&quot;&gt;&lt;property id=&quot;20148&quot; value=&quot;5&quot;/&gt;&lt;property id=&quot;20300&quot; value=&quot;Slide 30 - &amp;quot;No significant peaks in the maturity profile of senior bonds and loans; refinancing of mortgage bonds secured as a&quot;/&gt;&lt;property id=&quot;20307&quot; value=&quot;623&quot;/&gt;&lt;/object&gt;&lt;object type=&quot;3&quot; unique_id=&quot;10276&quot;&gt;&lt;property id=&quot;20148&quot; value=&quot;5&quot;/&gt;&lt;property id=&quot;20300&quot; value=&quot;Slide 31 - &amp;quot;A hitel/betét mutató csoportszinten jelentősen csökkent q/q, a legnagyobb mértékű alkalmazkodást a magas hitel/bet&quot;/&gt;&lt;property id=&quot;20307&quot; value=&quot;631&quot;/&gt;&lt;/object&gt;&lt;/object&gt;&lt;/object&gt;&lt;/database&gt;"/>
  <p:tag name="SECTOMILLISECCONVERTED" val="1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7&quot;&gt;&lt;elem m_fUsage=&quot;1.97559000000000020000E+000&quot;&gt;&lt;m_ppcolschidx val=&quot;0&quot;/&gt;&lt;m_rgb r=&quot;e2&quot; g=&quot;80&quot; b=&quot;1d&quot;/&gt;&lt;/elem&gt;&lt;elem m_fUsage=&quot;1.76992024307402400000E+000&quot;&gt;&lt;m_ppcolschidx val=&quot;0&quot;/&gt;&lt;m_rgb r=&quot;99&quot; g=&quot;cc&quot; b=&quot;0&quot;/&gt;&lt;/elem&gt;&lt;elem m_fUsage=&quot;1.57125314618999990000E+000&quot;&gt;&lt;m_ppcolschidx val=&quot;0&quot;/&gt;&lt;m_rgb r=&quot;0&quot; g=&quot;70&quot; b=&quot;c0&quot;/&gt;&lt;/elem&gt;&lt;elem m_fUsage=&quot;1.03005374480893060000E+000&quot;&gt;&lt;m_ppcolschidx val=&quot;0&quot;/&gt;&lt;m_rgb r=&quot;33&quot; g=&quot;99&quot; b=&quot;33&quot;/&gt;&lt;/elem&gt;&lt;elem m_fUsage=&quot;1.00000000000000000000E+000&quot;&gt;&lt;m_ppcolschidx val=&quot;0&quot;/&gt;&lt;m_rgb r=&quot;4e&quot; g=&quot;8d&quot; b=&quot;32&quot;/&gt;&lt;/elem&gt;&lt;elem m_fUsage=&quot;9.00000000000000020000E-001&quot;&gt;&lt;m_ppcolschidx val=&quot;0&quot;/&gt;&lt;m_rgb r=&quot;5b&quot; g=&quot;15&quot; b=&quot;27&quot;/&gt;&lt;/elem&gt;&lt;elem m_fUsage=&quot;8.56630954495042120000E-001&quot;&gt;&lt;m_ppcolschidx val=&quot;0&quot;/&gt;&lt;m_rgb r=&quot;c6&quot; g=&quot;e0&quot; b=&quot;9e&quot;/&gt;&lt;/elem&gt;&lt;elem m_fUsage=&quot;3.87420489000000150000E-001&quot;&gt;&lt;m_ppcolschidx val=&quot;0&quot;/&gt;&lt;m_rgb r=&quot;f1&quot; g=&quot;b4&quot; b=&quot;23&quot;/&gt;&lt;/elem&gt;&lt;elem m_fUsage=&quot;1.84035714240234100000E-001&quot;&gt;&lt;m_ppcolschidx val=&quot;0&quot;/&gt;&lt;m_rgb r=&quot;2b&quot; g=&quot;80&quot; b=&quot;2b&quot;/&gt;&lt;/elem&gt;&lt;elem m_fUsage=&quot;1.42950040574499670000E-001&quot;&gt;&lt;m_ppcolschidx val=&quot;0&quot;/&gt;&lt;m_rgb r=&quot;25&quot; g=&quot;53&quot; b=&quot;17&quot;/&gt;&lt;/elem&gt;&lt;elem m_fUsage=&quot;5.07600414711858180000E-002&quot;&gt;&lt;m_ppcolschidx val=&quot;0&quot;/&gt;&lt;m_rgb r=&quot;43&quot; g=&quot;c0&quot; b=&quot;43&quot;/&gt;&lt;/elem&gt;&lt;elem m_fUsage=&quot;1.64232032682606750000E-002&quot;&gt;&lt;m_ppcolschidx val=&quot;0&quot;/&gt;&lt;m_rgb r=&quot;7&quot; g=&quot;f1&quot; b=&quot;31&quot;/&gt;&lt;/elem&gt;&lt;elem m_fUsage=&quot;1.64232032682606750000E-002&quot;&gt;&lt;m_ppcolschidx val=&quot;0&quot;/&gt;&lt;m_rgb r=&quot;ff&quot; g=&quot;99&quot; b=&quot;0&quot;/&gt;&lt;/elem&gt;&lt;elem m_fUsage=&quot;1.64232032682606750000E-002&quot;&gt;&lt;m_ppcolschidx val=&quot;0&quot;/&gt;&lt;m_rgb r=&quot;97&quot; g=&quot;c0&quot; b=&quot;ff&quot;/&gt;&lt;/elem&gt;&lt;elem m_fUsage=&quot;1.64232032682606750000E-002&quot;&gt;&lt;m_ppcolschidx val=&quot;0&quot;/&gt;&lt;m_rgb r=&quot;f5&quot; g=&quot;97&quot; b=&quot;2e&quot;/&gt;&lt;/elem&gt;&lt;elem m_fUsage=&quot;1.64232032682606750000E-002&quot;&gt;&lt;m_ppcolschidx val=&quot;0&quot;/&gt;&lt;m_rgb r=&quot;34&quot; g=&quot;af&quot; b=&quot;d3&quot;/&gt;&lt;/elem&gt;&lt;elem m_fUsage=&quot;1.64232032682606750000E-002&quot;&gt;&lt;m_ppcolschidx val=&quot;0&quot;/&gt;&lt;m_rgb r=&quot;d1&quot; g=&quot;e&quot; b=&quot;44&quot;/&gt;&lt;/elem&gt;&lt;/m_vecMRU&gt;&lt;/m_mruColor&gt;&lt;m_mapectfillschemeMRU&gt;&lt;key val=&quot;0&quot;/&gt;&lt;elem&gt;&lt;m_nPartnerID val=&quot;530&quot;/&gt;&lt;m_nIndex val=&quot;2&quot;/&gt;&lt;/elem&gt;&lt;key val=&quot;1&quot;/&gt;&lt;elem&gt;&lt;m_nPartnerID val=&quot;530&quot;/&gt;&lt;m_nIndex val=&quot;4&quot;/&gt;&lt;/elem&gt;&lt;key val=&quot;6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y/%m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210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zf_mu130CPKPwV.x.a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BHdYuJUin.vpvLpGZ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.A.bklk0W0wPQcAkWjb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Yzs1jYtEu_Y42eYIS6x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NbJmBE0k..ABFsKNumg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g5yl_Azk6jrYMJ91Xhr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g5yl_Azk6jrYMJ91Xhr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ma1LmAR02HzHvschZS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NbJmBE0k..ABFsKNumg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g5yl_Azk6jrYMJ91Xhr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NbJmBE0k..ABFsKNumg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NbJmBE0k..ABFsKNumg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NbJmBE0k..ABFsKNum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yFSsrFUECQOE1wJBhrS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L6VesAl06OGK7u2Yn6A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fYC0KvzkqsxI3_322z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Y5vKKCpk2Bz4Qe_oIo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R35KFLTESrgjGDZf5xn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xGhMpSUG002YN49gra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XZOkCNbE2cJ9spG57gg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NPaiFs2UedmfWSHLTH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szU2.X063IVQs1QoNH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5FxsMhHUC6eP9.vzfSs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Q760V790y6L0K211utG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bTHVpCUqteddUhfwup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EYjO0QrUqXLd04AMJB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L1ylnTpEGh43RaV7_L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pK52n5ekyeVLfbGaESj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1bykInPEuuyKKlrXlQA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8ACpiBGUqITHE2HkMPH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_mqB1xmES94OKgmqEfI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QgDEho9UG59A7P.VdM5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KWojozC0agfErLV9DiW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kyvfNUBEORQqEpDpKsB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iku0JZPU2wD3zxTQfW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BHdYuJUin.vpvLpGZT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xe1RlkhE2SDWDcCdn1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fnt4KLZ0yDE0y8dw9dL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.iBQNHO0OYPVI4Q9Miq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r2qsqlWkqZtkBsBJYn_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bZERZnY06cNl46oUjZH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pM5hhRcEO4qInxehUz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zWNVfOfUmqAKE7be.LX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waSRGP6U6DmhC2_ghA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P5IFqb0UiCbEZ4KKZbl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GnLudMV0eP.AmwsH2U7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uY9eSC0S5AgkkZhdlf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gJCwxIZkKyEydk4EXb_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iK2Pytx06BvEwjKbtMB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zcWMeWsESdqdFMHtbq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Kce3Q9.kOkQXBSPNPkr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r6ckujKEa.plZEQBbUo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BJIKTLtk.scb92.6B0.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wQGHOdhkWnUGsSP5gq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tfc122UaIOotRpBXIz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Sgp4V6_Eq1fnXbv1wM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sFnCSiR0y6nRLeUfX0W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xym1lDhkmH.TpJf0ioS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zWNVfOfUmqAKE7be.LX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wQGHOdhkWnUGsSP5gqA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BHdYuJUin.vpvLpGZT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.A.bklk0W0wPQcAkWjb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1oUgkaAUN8N9cWiG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g5yl_Azk6jrYMJ91Xh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1oUgkaAUN8N9cWi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1oUgkaAUN8N9cWiG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uBaJnCUWcteiSVw5jK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tCenYK60CJFT2S9yC2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BHdYuJUin.vpvLpGZ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.A.bklk0W0wPQcAkWj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1MKQ8MLESBCrC4Y3TWC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G9lRvykqKmxY3pKOo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KWxAi2YESWVUZz4WYL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BHdYuJUin.vpvLpGZ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zf_mu130CPKPwV.x.a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.A.bklk0W0wPQcAkWj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A4C0dukuu523.WT.R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5Gt63drUOzGYnlQNNC9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Qa4zfk0y9z6phV38P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owpO_lf0GUAuctkmoL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1oUgkaAUN8N9cWi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Yzs1jYtEu_Y42eYIS6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ys1oUgkaAUN8N9cWi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zG9lRvykqKmxY3pKOo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g4OEZdk6hy2qF.YH_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J.2eVLUewW4EQrI.nR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u.hTGJvE.Fvyo0LVZL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jaZVwU_UG9B5rZREfE2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GdEkaH40CYKtlMRinwp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6kJ1gk0SF8.e5wWL4ew"/>
</p:tagLst>
</file>

<file path=ppt/theme/theme1.xml><?xml version="1.0" encoding="utf-8"?>
<a:theme xmlns:a="http://schemas.openxmlformats.org/drawingml/2006/main" name="14_cím">
  <a:themeElements>
    <a:clrScheme name="OTP_v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7770"/>
      </a:accent1>
      <a:accent2>
        <a:srgbClr val="35BF38"/>
      </a:accent2>
      <a:accent3>
        <a:srgbClr val="99CC00"/>
      </a:accent3>
      <a:accent4>
        <a:srgbClr val="DFF5C0"/>
      </a:accent4>
      <a:accent5>
        <a:srgbClr val="BBE0E3"/>
      </a:accent5>
      <a:accent6>
        <a:srgbClr val="C30C3E"/>
      </a:accent6>
      <a:hlink>
        <a:srgbClr val="FFFFFF"/>
      </a:hlink>
      <a:folHlink>
        <a:srgbClr val="000000"/>
      </a:folHlink>
    </a:clrScheme>
    <a:fontScheme name="14_cím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ím 1">
        <a:dk1>
          <a:srgbClr val="000000"/>
        </a:dk1>
        <a:lt1>
          <a:srgbClr val="FFFFFF"/>
        </a:lt1>
        <a:dk2>
          <a:srgbClr val="000000"/>
        </a:dk2>
        <a:lt2>
          <a:srgbClr val="FF00FF"/>
        </a:lt2>
        <a:accent1>
          <a:srgbClr val="FFCC00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8A2D"/>
        </a:accent6>
        <a:hlink>
          <a:srgbClr val="0000FE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cím">
  <a:themeElements>
    <a:clrScheme name="">
      <a:dk1>
        <a:srgbClr val="000000"/>
      </a:dk1>
      <a:lt1>
        <a:srgbClr val="FFFFFF"/>
      </a:lt1>
      <a:dk2>
        <a:srgbClr val="000000"/>
      </a:dk2>
      <a:lt2>
        <a:srgbClr val="FF00FF"/>
      </a:lt2>
      <a:accent1>
        <a:srgbClr val="FFCC00"/>
      </a:accent1>
      <a:accent2>
        <a:srgbClr val="339933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8A2D"/>
      </a:accent6>
      <a:hlink>
        <a:srgbClr val="0000FE"/>
      </a:hlink>
      <a:folHlink>
        <a:srgbClr val="66CCFF"/>
      </a:folHlink>
    </a:clrScheme>
    <a:fontScheme name="4_cím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ím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3_Egyéni tervezés">
  <a:themeElements>
    <a:clrScheme name="43_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3_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3_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3_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3_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3_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3_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3_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3_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3_Egyéni tervezés">
  <a:themeElements>
    <a:clrScheme name="53_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3_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3_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4_Egyéni tervezés">
  <a:themeElements>
    <a:clrScheme name="53_Egyéni tervezé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3_Egyéni tervezé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3_Egyéni tervezé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3_Egyéni tervezé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3_Egyéni tervezé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5_cím">
  <a:themeElements>
    <a:clrScheme name="OTP_v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7770"/>
      </a:accent1>
      <a:accent2>
        <a:srgbClr val="35BF38"/>
      </a:accent2>
      <a:accent3>
        <a:srgbClr val="99CC00"/>
      </a:accent3>
      <a:accent4>
        <a:srgbClr val="DFF5C0"/>
      </a:accent4>
      <a:accent5>
        <a:srgbClr val="BBE0E3"/>
      </a:accent5>
      <a:accent6>
        <a:srgbClr val="C30C3E"/>
      </a:accent6>
      <a:hlink>
        <a:srgbClr val="FFFFFF"/>
      </a:hlink>
      <a:folHlink>
        <a:srgbClr val="000000"/>
      </a:folHlink>
    </a:clrScheme>
    <a:fontScheme name="14_cím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ím 1">
        <a:dk1>
          <a:srgbClr val="000000"/>
        </a:dk1>
        <a:lt1>
          <a:srgbClr val="FFFFFF"/>
        </a:lt1>
        <a:dk2>
          <a:srgbClr val="000000"/>
        </a:dk2>
        <a:lt2>
          <a:srgbClr val="FF00FF"/>
        </a:lt2>
        <a:accent1>
          <a:srgbClr val="FFCC00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8A2D"/>
        </a:accent6>
        <a:hlink>
          <a:srgbClr val="0000FE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283</TotalTime>
  <Words>1872</Words>
  <Application>Microsoft Office PowerPoint</Application>
  <PresentationFormat>A4 (210x297 mm)</PresentationFormat>
  <Paragraphs>434</Paragraphs>
  <Slides>30</Slides>
  <Notes>29</Notes>
  <HiddenSlides>0</HiddenSlides>
  <MMClips>0</MMClips>
  <ScaleCrop>false</ScaleCrop>
  <HeadingPairs>
    <vt:vector size="6" baseType="variant">
      <vt:variant>
        <vt:lpstr>Téma</vt:lpstr>
      </vt:variant>
      <vt:variant>
        <vt:i4>6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0</vt:i4>
      </vt:variant>
    </vt:vector>
  </HeadingPairs>
  <TitlesOfParts>
    <vt:vector size="38" baseType="lpstr">
      <vt:lpstr>14_cím</vt:lpstr>
      <vt:lpstr>4_cím</vt:lpstr>
      <vt:lpstr>43_Egyéni tervezés</vt:lpstr>
      <vt:lpstr>53_Egyéni tervezés</vt:lpstr>
      <vt:lpstr>54_Egyéni tervezés</vt:lpstr>
      <vt:lpstr>15_cím</vt:lpstr>
      <vt:lpstr>think-cell Slide</vt:lpstr>
      <vt:lpstr>Diagram</vt:lpstr>
      <vt:lpstr>PowerPoint bemutató</vt:lpstr>
      <vt:lpstr>PowerPoint bemutató</vt:lpstr>
      <vt:lpstr>A költségvetési hiánycsökkentés továbbra is mindenhol fékezi a gazdasági növekedést, kivéve Japánt </vt:lpstr>
      <vt:lpstr>Az adósságráták még emelkednek, így további kiigazításra lesz szükség</vt:lpstr>
      <vt:lpstr>A növekedést jelenleg a jegybankok támogatják, zéró kamatpolitikával és szinte korlátlan pénzteremtéssel. De ez az USA-ban véget érhet</vt:lpstr>
      <vt:lpstr>PowerPoint bemutató</vt:lpstr>
      <vt:lpstr>Eurózóna: A számos megoldatlan probléma miatt Európa 2013 végén kászálódhat ki a recesszióból</vt:lpstr>
      <vt:lpstr>PowerPoint bemutató</vt:lpstr>
      <vt:lpstr>A tőkeszegény régiós gazdaságok növekedésének fő motorja az export és a tőkebeáramlás</vt:lpstr>
      <vt:lpstr>PowerPoint bemutató</vt:lpstr>
      <vt:lpstr>PowerPoint bemutató</vt:lpstr>
      <vt:lpstr>Mindez az európaival együttmozgó, de annál békeidőkben magasabb, de recessziókban akár alacsonyabb régiós növekedést eredményez</vt:lpstr>
      <vt:lpstr>PowerPoint bemutató</vt:lpstr>
      <vt:lpstr>A 2012-es hiánycél teljesült a számos, a GDP 6%-át elérő kiigazítás miatt. Előretekintve is 3% körüli hiány várható </vt:lpstr>
      <vt:lpstr>Az államadósság emelkedése véget ért. Előretekintve az alacsony hiány ellenére is csak mérsékelt csökkenés várható a lassú gazdasági növekedés miatt</vt:lpstr>
      <vt:lpstr>2013 Külső egyensúly I: Korábban nem látott szintre emelkedett a külső egyensúly többlete</vt:lpstr>
      <vt:lpstr>2013 Külső egyensúly II: Végre gyorsan csökken a külső adósság és ezzel a sebezhetőség</vt:lpstr>
      <vt:lpstr>PowerPoint bemutató</vt:lpstr>
      <vt:lpstr>2013: Növekedés: az OTP 1%-os növekedést vár a tavalyi 1,7%-os recesszió után, sajnos zömében egyszeri tényezők miatt </vt:lpstr>
      <vt:lpstr>2013 Összefoglalás: a helyzet enyhén javul 2013-ban, de továbbra sem lesz igazán kedvező. Emellett érdemes figyelni a kockázatokra is. </vt:lpstr>
      <vt:lpstr>De középtávon a régiós 3,5-4%-tól lényegesen elmaradó, 2% körüli növekedést vár a piac Magyarországtól</vt:lpstr>
      <vt:lpstr>Ami alapján a lemaradás tovább nő 2017-ig</vt:lpstr>
      <vt:lpstr>PowerPoint bemutató</vt:lpstr>
      <vt:lpstr>PowerPoint bemutató</vt:lpstr>
      <vt:lpstr>Az ok: a tőkevonzó képesség drasztikus romlása. A Német-Magyar Iparkamara felmérése szerint a 4. helyről a 10-re estünk vissza 2006és 2012 között</vt:lpstr>
      <vt:lpstr>PowerPoint bemutató</vt:lpstr>
      <vt:lpstr>Monetáris politika: a cél alá süllyedő infláció lehetővé teszi az  alapkamat csökkentését…</vt:lpstr>
      <vt:lpstr>Monetáris politika: a hosszú hozamok 2005 óta nem látott mélységekbe süllyedtek</vt:lpstr>
      <vt:lpstr>MNB: konzervatív az eddigi megközelítés, egyelőre nem realizálódtak a piaci aggodalmak</vt:lpstr>
      <vt:lpstr>PowerPoint bemutató</vt:lpstr>
    </vt:vector>
  </TitlesOfParts>
  <Company>OTP Bank Ny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. dia</dc:title>
  <dc:creator>Hasszán Tamás</dc:creator>
  <cp:lastModifiedBy>Tardos Gergely</cp:lastModifiedBy>
  <cp:revision>3065</cp:revision>
  <cp:lastPrinted>2013-04-25T09:54:43Z</cp:lastPrinted>
  <dcterms:created xsi:type="dcterms:W3CDTF">2007-01-24T09:37:29Z</dcterms:created>
  <dcterms:modified xsi:type="dcterms:W3CDTF">2013-05-28T12:19:08Z</dcterms:modified>
</cp:coreProperties>
</file>